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58" r:id="rId4"/>
    <p:sldMasterId id="2147483896" r:id="rId5"/>
  </p:sldMasterIdLst>
  <p:notesMasterIdLst>
    <p:notesMasterId r:id="rId13"/>
  </p:notesMasterIdLst>
  <p:handoutMasterIdLst>
    <p:handoutMasterId r:id="rId14"/>
  </p:handoutMasterIdLst>
  <p:sldIdLst>
    <p:sldId id="256" r:id="rId6"/>
    <p:sldId id="257" r:id="rId7"/>
    <p:sldId id="325" r:id="rId8"/>
    <p:sldId id="327" r:id="rId9"/>
    <p:sldId id="326" r:id="rId10"/>
    <p:sldId id="328" r:id="rId11"/>
    <p:sldId id="260" r:id="rId12"/>
  </p:sldIdLst>
  <p:sldSz cx="12192000" cy="6858000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99" autoAdjust="0"/>
  </p:normalViewPr>
  <p:slideViewPr>
    <p:cSldViewPr snapToGrid="0" showGuides="1">
      <p:cViewPr varScale="1">
        <p:scale>
          <a:sx n="78" d="100"/>
          <a:sy n="78" d="100"/>
        </p:scale>
        <p:origin x="806" y="67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1512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9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6608" units="cm"/>
          <inkml:channel name="Y" type="integer" max="11748" units="cm"/>
          <inkml:channel name="T" type="integer" max="2.14748E9" units="dev"/>
        </inkml:traceFormat>
        <inkml:channelProperties>
          <inkml:channelProperty channel="X" name="resolution" value="400" units="1/cm"/>
          <inkml:channelProperty channel="Y" name="resolution" value="400" units="1/cm"/>
          <inkml:channelProperty channel="T" name="resolution" value="1" units="1/dev"/>
        </inkml:channelProperties>
      </inkml:inkSource>
      <inkml:timestamp xml:id="ts0" timeString="2022-12-08T11:41:55.116"/>
    </inkml:context>
    <inkml:brush xml:id="br0">
      <inkml:brushProperty name="width" value="0.03528" units="cm"/>
      <inkml:brushProperty name="height" value="0.03528" units="cm"/>
      <inkml:brushProperty name="color" value="#7F7F7F"/>
      <inkml:brushProperty name="fitToCurve" value="1"/>
    </inkml:brush>
  </inkml:definitions>
  <inkml:trace contextRef="#ctx0" brushRef="#br0">0 0 0,'0'0'0,"0"0"15,0 0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AF32ABF-324D-409C-9350-57014A6F4E71}" type="slidenum">
              <a:rPr lang="en-US" altLang="cs-CZ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cs-CZ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483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227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20188"/>
            <a:ext cx="3170238" cy="4810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8F6897-AC07-4E19-AB60-E27796034A8B}" type="slidenum">
              <a:rPr lang="en-GB" altLang="cs-CZ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altLang="cs-CZ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10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9747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230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482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6438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957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367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3100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65749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77189292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78347032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272214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8671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4374326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36919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24664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193389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8856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656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9926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172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813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90626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90626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200706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00" y="7290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8EE22A3-A8E5-4756-88EE-FC6D60FE6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244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325938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8148737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0067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40136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90897606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19428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84168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76331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61076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6898323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7078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35231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4775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00" y="7290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8EE22A3-A8E5-4756-88EE-FC6D60FE6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94588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1090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862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20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3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00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47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4841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8827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55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218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19828E09-D049-49D7-BE85-DE45BC334CFE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5E51561B-D398-42F6-B947-A1D464580D4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245F6F-F221-47F1-A1CB-901F630239A0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2491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653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78096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6028850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16884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2037334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497671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103440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67462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0729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427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75746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14053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6185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76375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15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7680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90626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90626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382095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325938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8148737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127962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44856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1952939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193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84152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05443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1978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72286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6589625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602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0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539286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3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98" r:id="rId16"/>
    <p:sldLayoutId id="2147483977" r:id="rId17"/>
    <p:sldLayoutId id="2147483978" r:id="rId18"/>
    <p:sldLayoutId id="2147483979" r:id="rId19"/>
    <p:sldLayoutId id="2147483980" r:id="rId20"/>
    <p:sldLayoutId id="2147483981" r:id="rId21"/>
    <p:sldLayoutId id="2147483982" r:id="rId22"/>
    <p:sldLayoutId id="2147483983" r:id="rId23"/>
    <p:sldLayoutId id="2147483984" r:id="rId24"/>
    <p:sldLayoutId id="2147483985" r:id="rId25"/>
    <p:sldLayoutId id="2147483986" r:id="rId26"/>
    <p:sldLayoutId id="2147483987" r:id="rId27"/>
    <p:sldLayoutId id="2147483988" r:id="rId28"/>
    <p:sldLayoutId id="2147483989" r:id="rId29"/>
    <p:sldLayoutId id="2147483990" r:id="rId30"/>
    <p:sldLayoutId id="2147483991" r:id="rId31"/>
    <p:sldLayoutId id="2147483992" r:id="rId32"/>
    <p:sldLayoutId id="2147483993" r:id="rId33"/>
    <p:sldLayoutId id="2147483994" r:id="rId34"/>
    <p:sldLayoutId id="2147483995" r:id="rId35"/>
    <p:sldLayoutId id="2147483996" r:id="rId36"/>
    <p:sldLayoutId id="2147483997" r:id="rId3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1392">
          <p15:clr>
            <a:srgbClr val="F26B43"/>
          </p15:clr>
        </p15:guide>
        <p15:guide id="4" pos="1512">
          <p15:clr>
            <a:srgbClr val="F26B43"/>
          </p15:clr>
        </p15:guide>
        <p15:guide id="5" pos="2592">
          <p15:clr>
            <a:srgbClr val="F26B43"/>
          </p15:clr>
        </p15:guide>
        <p15:guide id="6" pos="2712">
          <p15:clr>
            <a:srgbClr val="F26B43"/>
          </p15:clr>
        </p15:guide>
        <p15:guide id="7" pos="3768">
          <p15:clr>
            <a:srgbClr val="F26B43"/>
          </p15:clr>
        </p15:guide>
        <p15:guide id="8" pos="7368">
          <p15:clr>
            <a:srgbClr val="F26B43"/>
          </p15:clr>
        </p15:guide>
        <p15:guide id="9" pos="6288">
          <p15:clr>
            <a:srgbClr val="F26B43"/>
          </p15:clr>
        </p15:guide>
        <p15:guide id="10" pos="6168">
          <p15:clr>
            <a:srgbClr val="F26B43"/>
          </p15:clr>
        </p15:guide>
        <p15:guide id="11" pos="5088">
          <p15:clr>
            <a:srgbClr val="F26B43"/>
          </p15:clr>
        </p15:guide>
        <p15:guide id="12" pos="4968">
          <p15:clr>
            <a:srgbClr val="F26B43"/>
          </p15:clr>
        </p15:guide>
        <p15:guide id="13" pos="3912">
          <p15:clr>
            <a:srgbClr val="F26B43"/>
          </p15:clr>
        </p15:guide>
        <p15:guide id="14" orient="horz" pos="4104">
          <p15:clr>
            <a:srgbClr val="F26B43"/>
          </p15:clr>
        </p15:guide>
        <p15:guide id="15" orient="horz" pos="4032">
          <p15:clr>
            <a:srgbClr val="F26B43"/>
          </p15:clr>
        </p15:guide>
        <p15:guide id="16" orient="horz" pos="2232">
          <p15:clr>
            <a:srgbClr val="F26B43"/>
          </p15:clr>
        </p15:guide>
        <p15:guide id="17" orient="horz" pos="1056">
          <p15:clr>
            <a:srgbClr val="F26B43"/>
          </p15:clr>
        </p15:guide>
        <p15:guide id="18" orient="horz" pos="19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0871514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dstavení ekosystému C-ITS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cs-CZ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cs-CZ" sz="800" noProof="0" dirty="0"/>
          </a:p>
        </p:txBody>
      </p:sp>
    </p:spTree>
    <p:extLst>
      <p:ext uri="{BB962C8B-B14F-4D97-AF65-F5344CB8AC3E}">
        <p14:creationId xmlns:p14="http://schemas.microsoft.com/office/powerpoint/2010/main" val="49565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3900" r:id="rId4"/>
    <p:sldLayoutId id="2147483901" r:id="rId5"/>
    <p:sldLayoutId id="2147483902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03" r:id="rId14"/>
    <p:sldLayoutId id="2147483904" r:id="rId15"/>
    <p:sldLayoutId id="2147483905" r:id="rId16"/>
    <p:sldLayoutId id="2147483999" r:id="rId17"/>
    <p:sldLayoutId id="2147483906" r:id="rId18"/>
    <p:sldLayoutId id="2147483907" r:id="rId19"/>
    <p:sldLayoutId id="2147483908" r:id="rId20"/>
    <p:sldLayoutId id="2147483909" r:id="rId21"/>
    <p:sldLayoutId id="2147483911" r:id="rId22"/>
    <p:sldLayoutId id="2147483912" r:id="rId23"/>
    <p:sldLayoutId id="2147483914" r:id="rId24"/>
    <p:sldLayoutId id="2147483915" r:id="rId25"/>
    <p:sldLayoutId id="2147483916" r:id="rId26"/>
    <p:sldLayoutId id="2147483917" r:id="rId27"/>
    <p:sldLayoutId id="2147483918" r:id="rId28"/>
    <p:sldLayoutId id="2147483919" r:id="rId29"/>
    <p:sldLayoutId id="2147483920" r:id="rId30"/>
    <p:sldLayoutId id="2147483921" r:id="rId31"/>
    <p:sldLayoutId id="2147483922" r:id="rId32"/>
    <p:sldLayoutId id="2147483924" r:id="rId33"/>
    <p:sldLayoutId id="2147483925" r:id="rId34"/>
    <p:sldLayoutId id="2147483926" r:id="rId35"/>
    <p:sldLayoutId id="2147483945" r:id="rId36"/>
    <p:sldLayoutId id="2147483946" r:id="rId3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1392" userDrawn="1">
          <p15:clr>
            <a:srgbClr val="F26B43"/>
          </p15:clr>
        </p15:guide>
        <p15:guide id="4" pos="1512" userDrawn="1">
          <p15:clr>
            <a:srgbClr val="F26B43"/>
          </p15:clr>
        </p15:guide>
        <p15:guide id="5" pos="2592" userDrawn="1">
          <p15:clr>
            <a:srgbClr val="F26B43"/>
          </p15:clr>
        </p15:guide>
        <p15:guide id="6" pos="2712" userDrawn="1">
          <p15:clr>
            <a:srgbClr val="F26B43"/>
          </p15:clr>
        </p15:guide>
        <p15:guide id="7" pos="3768" userDrawn="1">
          <p15:clr>
            <a:srgbClr val="F26B43"/>
          </p15:clr>
        </p15:guide>
        <p15:guide id="8" pos="7368" userDrawn="1">
          <p15:clr>
            <a:srgbClr val="F26B43"/>
          </p15:clr>
        </p15:guide>
        <p15:guide id="9" pos="6288" userDrawn="1">
          <p15:clr>
            <a:srgbClr val="F26B43"/>
          </p15:clr>
        </p15:guide>
        <p15:guide id="10" pos="6168" userDrawn="1">
          <p15:clr>
            <a:srgbClr val="F26B43"/>
          </p15:clr>
        </p15:guide>
        <p15:guide id="11" pos="5088" userDrawn="1">
          <p15:clr>
            <a:srgbClr val="F26B43"/>
          </p15:clr>
        </p15:guide>
        <p15:guide id="12" pos="4968" userDrawn="1">
          <p15:clr>
            <a:srgbClr val="F26B43"/>
          </p15:clr>
        </p15:guide>
        <p15:guide id="13" pos="3912" userDrawn="1">
          <p15:clr>
            <a:srgbClr val="F26B43"/>
          </p15:clr>
        </p15:guide>
        <p15:guide id="14" orient="horz" pos="4104" userDrawn="1">
          <p15:clr>
            <a:srgbClr val="F26B43"/>
          </p15:clr>
        </p15:guide>
        <p15:guide id="15" orient="horz" pos="4032" userDrawn="1">
          <p15:clr>
            <a:srgbClr val="F26B43"/>
          </p15:clr>
        </p15:guide>
        <p15:guide id="16" orient="horz" pos="2232" userDrawn="1">
          <p15:clr>
            <a:srgbClr val="F26B43"/>
          </p15:clr>
        </p15:guide>
        <p15:guide id="17" orient="horz" pos="1056" userDrawn="1">
          <p15:clr>
            <a:srgbClr val="F26B43"/>
          </p15:clr>
        </p15:guide>
        <p15:guide id="18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53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12" Type="http://schemas.openxmlformats.org/officeDocument/2006/relationships/image" Target="../media/image6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53.xml"/><Relationship Id="rId11" Type="http://schemas.openxmlformats.org/officeDocument/2006/relationships/image" Target="NUL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lfilip@deloittece.com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501652" y="4988624"/>
            <a:ext cx="6223613" cy="895983"/>
          </a:xfrm>
        </p:spPr>
        <p:txBody>
          <a:bodyPr/>
          <a:lstStyle/>
          <a:p>
            <a:r>
              <a:rPr lang="en-US" dirty="0" err="1"/>
              <a:t>Představení</a:t>
            </a:r>
            <a:r>
              <a:rPr lang="en-US" dirty="0"/>
              <a:t> </a:t>
            </a:r>
            <a:r>
              <a:rPr lang="en-US" dirty="0" err="1"/>
              <a:t>ekosystému</a:t>
            </a:r>
            <a:r>
              <a:rPr lang="en-US" dirty="0"/>
              <a:t> C-ITS</a:t>
            </a:r>
            <a:endParaRPr lang="cs-CZ" dirty="0"/>
          </a:p>
        </p:txBody>
      </p:sp>
      <p:sp>
        <p:nvSpPr>
          <p:cNvPr id="3994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2" y="5884607"/>
            <a:ext cx="5741832" cy="273050"/>
          </a:xfrm>
        </p:spPr>
        <p:txBody>
          <a:bodyPr vert="horz" lIns="0" tIns="0" rIns="0" bIns="0" rtlCol="0" anchor="b" anchorCtr="0">
            <a:noAutofit/>
          </a:bodyPr>
          <a:lstStyle/>
          <a:p>
            <a:pPr>
              <a:lnSpc>
                <a:spcPts val="3200"/>
              </a:lnSpc>
              <a:spcBef>
                <a:spcPct val="0"/>
              </a:spcBef>
            </a:pP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ITS pro </a:t>
            </a:r>
            <a:r>
              <a:rPr lang="en-US" sz="1800" dirty="0" err="1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města</a:t>
            </a: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, </a:t>
            </a:r>
            <a:r>
              <a:rPr lang="en-US" sz="1800" dirty="0" err="1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specifické</a:t>
            </a: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lang="en-US" sz="1800" dirty="0" err="1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požadavky</a:t>
            </a: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, </a:t>
            </a:r>
            <a:r>
              <a:rPr lang="cs-CZ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9.12.2022</a:t>
            </a:r>
            <a:endParaRPr lang="en-US" sz="1800" dirty="0">
              <a:latin typeface="Calibri Light" panose="020F0302020204030204" pitchFamily="34" charset="0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Picture 3" descr="Fields_and_car_lo">
            <a:extLst>
              <a:ext uri="{FF2B5EF4-FFF2-40B4-BE49-F238E27FC236}">
                <a16:creationId xmlns:a16="http://schemas.microsoft.com/office/drawing/2014/main" id="{CF6DD369-C9CF-D3EC-6BA2-7AC229AC7C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37" b="14391"/>
          <a:stretch/>
        </p:blipFill>
        <p:spPr bwMode="auto">
          <a:xfrm>
            <a:off x="3036000" y="776748"/>
            <a:ext cx="6120000" cy="435569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93BC5FE-CB96-D9D4-533B-08A2F2C8466F}"/>
              </a:ext>
            </a:extLst>
          </p:cNvPr>
          <p:cNvSpPr txBox="1">
            <a:spLocks/>
          </p:cNvSpPr>
          <p:nvPr/>
        </p:nvSpPr>
        <p:spPr>
          <a:xfrm>
            <a:off x="501651" y="6157657"/>
            <a:ext cx="7393651" cy="2730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300" b="0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dirty="0"/>
              <a:t>Kateřina Mašínová, Deloitte Advisory s.r.o. </a:t>
            </a:r>
            <a:r>
              <a:rPr lang="cs-CZ" b="0" dirty="0"/>
              <a:t>(projektová podpora při provozu Centrálních prvků C-ITS)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795150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0E4FBAD0-C377-F9E0-CF9A-A0ECA22F0D2D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Kooperativní inteligentní dopravní systém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A70D294B-AE21-2383-9A84-7E6FFC914EFF}"/>
              </a:ext>
            </a:extLst>
          </p:cNvPr>
          <p:cNvSpPr txBox="1">
            <a:spLocks/>
          </p:cNvSpPr>
          <p:nvPr/>
        </p:nvSpPr>
        <p:spPr bwMode="auto">
          <a:xfrm>
            <a:off x="602371" y="1266196"/>
            <a:ext cx="6732000" cy="12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B20388-4587-3968-E144-97FDE8F86AD5}"/>
              </a:ext>
            </a:extLst>
          </p:cNvPr>
          <p:cNvSpPr txBox="1"/>
          <p:nvPr/>
        </p:nvSpPr>
        <p:spPr>
          <a:xfrm>
            <a:off x="602375" y="1134989"/>
            <a:ext cx="2789126" cy="2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08000" tIns="0" rIns="0" bIns="0" rtlCol="0" anchor="ctr" anchorCtr="0">
            <a:no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600"/>
              </a:spcAft>
              <a:buSzPct val="100000"/>
              <a:defRPr sz="1200" b="1"/>
            </a:lvl1pPr>
          </a:lstStyle>
          <a:p>
            <a:r>
              <a:rPr lang="cs-CZ" sz="1600" dirty="0"/>
              <a:t>Co je C-ITS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169E30-0397-97FD-145B-87BDA8E4AADB}"/>
              </a:ext>
            </a:extLst>
          </p:cNvPr>
          <p:cNvSpPr/>
          <p:nvPr/>
        </p:nvSpPr>
        <p:spPr>
          <a:xfrm>
            <a:off x="662194" y="1440077"/>
            <a:ext cx="6552000" cy="1038114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Kooperativní inteligentní dopravní systém („C-ITS“)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je systém přispívající ke zvyšování bezpečnosti a plynulosti dopravy. </a:t>
            </a:r>
          </a:p>
          <a:p>
            <a:pPr algn="just">
              <a:spcAft>
                <a:spcPts val="600"/>
              </a:spcAft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C-ITS umožňuje vozidlům komunikovat mezi sebou navzájem, s okolní infrastrukturou a ve výhledu i s dalšími účastníky dopravního provozu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531C8C-39B7-AF0E-242E-597300D290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2" r="7429"/>
          <a:stretch/>
        </p:blipFill>
        <p:spPr>
          <a:xfrm>
            <a:off x="7434997" y="1406013"/>
            <a:ext cx="4757002" cy="4866967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8A606EA-48B1-ADD7-4D0D-4812935BA4FA}"/>
              </a:ext>
            </a:extLst>
          </p:cNvPr>
          <p:cNvSpPr txBox="1">
            <a:spLocks/>
          </p:cNvSpPr>
          <p:nvPr/>
        </p:nvSpPr>
        <p:spPr bwMode="auto">
          <a:xfrm>
            <a:off x="602372" y="2785597"/>
            <a:ext cx="6732000" cy="359553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082A98-3BEA-1788-5D4B-735DE5B4D792}"/>
              </a:ext>
            </a:extLst>
          </p:cNvPr>
          <p:cNvSpPr/>
          <p:nvPr/>
        </p:nvSpPr>
        <p:spPr>
          <a:xfrm>
            <a:off x="1025609" y="3007093"/>
            <a:ext cx="6228000" cy="3374042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Varování před nebezpečnou lokalitou </a:t>
            </a:r>
            <a:r>
              <a:rPr 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(stojící vozidlo, kongesce, nebezpečí na vozovce, počasí)</a:t>
            </a: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Varování před pracemi na silnici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řenos dopravních zpráv a symbolů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Služby spojené se SSZ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(preference vybraných vozidel, informace o stavu SSZ, varování před jízdou na červenou, doporučení rychlosti pro plynulý průjezd)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Varování spojené s IZS </a:t>
            </a:r>
            <a:r>
              <a:rPr 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(varování před blížícím se vozidle, před místem zásahu)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Bezpečnostní služby MHD </a:t>
            </a:r>
            <a:r>
              <a:rPr 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(varování před křížením s MHD, před vozidlem v zastávce)</a:t>
            </a: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Varování před prudkým bržděním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oskytování informací a management oblastí</a:t>
            </a:r>
            <a:r>
              <a:rPr lang="cs-CZ" sz="16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(o parkování, dobíjecích stanicích, dopravní informace, management vjezdu), …</a:t>
            </a:r>
            <a:endParaRPr lang="cs-CZ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35E629-682E-E9E9-A881-5EC85AEAF40E}"/>
              </a:ext>
            </a:extLst>
          </p:cNvPr>
          <p:cNvSpPr txBox="1"/>
          <p:nvPr/>
        </p:nvSpPr>
        <p:spPr>
          <a:xfrm>
            <a:off x="602374" y="2671182"/>
            <a:ext cx="2789126" cy="2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08000" tIns="0" rIns="0" bIns="0" rtlCol="0" anchor="ctr" anchorCtr="0">
            <a:no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600"/>
              </a:spcAft>
              <a:buSzPct val="100000"/>
              <a:defRPr sz="1200" b="1"/>
            </a:lvl1pPr>
          </a:lstStyle>
          <a:p>
            <a:r>
              <a:rPr lang="cs-CZ" sz="1600" dirty="0"/>
              <a:t>Poskytované C-ITS služb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F91B8D-2AB5-30CC-530E-29C81933436C}"/>
              </a:ext>
            </a:extLst>
          </p:cNvPr>
          <p:cNvGrpSpPr/>
          <p:nvPr/>
        </p:nvGrpSpPr>
        <p:grpSpPr>
          <a:xfrm>
            <a:off x="7434996" y="2016105"/>
            <a:ext cx="340440" cy="272143"/>
            <a:chOff x="7135587" y="2103204"/>
            <a:chExt cx="340440" cy="272143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B40AEEB-6767-1F18-E589-3738B3226BB5}"/>
                </a:ext>
              </a:extLst>
            </p:cNvPr>
            <p:cNvSpPr/>
            <p:nvPr/>
          </p:nvSpPr>
          <p:spPr bwMode="gray">
            <a:xfrm>
              <a:off x="7135587" y="2103204"/>
              <a:ext cx="141514" cy="272143"/>
            </a:xfrm>
            <a:prstGeom prst="roundRect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cs-CZ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Right Bracket 7">
              <a:extLst>
                <a:ext uri="{FF2B5EF4-FFF2-40B4-BE49-F238E27FC236}">
                  <a16:creationId xmlns:a16="http://schemas.microsoft.com/office/drawing/2014/main" id="{35E420EC-1A7E-0950-B393-E708F3AF59C5}"/>
                </a:ext>
              </a:extLst>
            </p:cNvPr>
            <p:cNvSpPr/>
            <p:nvPr/>
          </p:nvSpPr>
          <p:spPr>
            <a:xfrm flipH="1">
              <a:off x="7334081" y="2146748"/>
              <a:ext cx="36000" cy="180000"/>
            </a:xfrm>
            <a:prstGeom prst="rightBracket">
              <a:avLst>
                <a:gd name="adj" fmla="val 72115"/>
              </a:avLst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9" name="Right Bracket 8">
              <a:extLst>
                <a:ext uri="{FF2B5EF4-FFF2-40B4-BE49-F238E27FC236}">
                  <a16:creationId xmlns:a16="http://schemas.microsoft.com/office/drawing/2014/main" id="{D909873B-E15C-5D2A-BB5D-ECCF20B62B25}"/>
                </a:ext>
              </a:extLst>
            </p:cNvPr>
            <p:cNvSpPr/>
            <p:nvPr/>
          </p:nvSpPr>
          <p:spPr>
            <a:xfrm flipH="1">
              <a:off x="7404027" y="2132520"/>
              <a:ext cx="72000" cy="216000"/>
            </a:xfrm>
            <a:prstGeom prst="rightBracket">
              <a:avLst>
                <a:gd name="adj" fmla="val 72115"/>
              </a:avLst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3EDEE87-D73C-F630-6102-973E0295793B}"/>
              </a:ext>
            </a:extLst>
          </p:cNvPr>
          <p:cNvGrpSpPr>
            <a:grpSpLocks noChangeAspect="1"/>
          </p:cNvGrpSpPr>
          <p:nvPr/>
        </p:nvGrpSpPr>
        <p:grpSpPr>
          <a:xfrm>
            <a:off x="741565" y="3082395"/>
            <a:ext cx="288000" cy="288000"/>
            <a:chOff x="9205256" y="1833490"/>
            <a:chExt cx="269875" cy="269875"/>
          </a:xfrm>
          <a:solidFill>
            <a:schemeClr val="tx2"/>
          </a:solidFill>
        </p:grpSpPr>
        <p:sp>
          <p:nvSpPr>
            <p:cNvPr id="16" name="Freeform 845">
              <a:extLst>
                <a:ext uri="{FF2B5EF4-FFF2-40B4-BE49-F238E27FC236}">
                  <a16:creationId xmlns:a16="http://schemas.microsoft.com/office/drawing/2014/main" id="{928A0B3D-64C6-CFDA-D9FC-24CF524F3E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05256" y="1833490"/>
              <a:ext cx="269875" cy="269875"/>
            </a:xfrm>
            <a:custGeom>
              <a:avLst/>
              <a:gdLst>
                <a:gd name="T0" fmla="*/ 256 w 512"/>
                <a:gd name="T1" fmla="*/ 21 h 512"/>
                <a:gd name="T2" fmla="*/ 21 w 512"/>
                <a:gd name="T3" fmla="*/ 256 h 512"/>
                <a:gd name="T4" fmla="*/ 256 w 512"/>
                <a:gd name="T5" fmla="*/ 490 h 512"/>
                <a:gd name="T6" fmla="*/ 490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512 w 512"/>
                <a:gd name="T13" fmla="*/ 256 h 512"/>
                <a:gd name="T14" fmla="*/ 256 w 512"/>
                <a:gd name="T15" fmla="*/ 512 h 512"/>
                <a:gd name="T16" fmla="*/ 0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126" y="21"/>
                    <a:pt x="21" y="126"/>
                    <a:pt x="21" y="256"/>
                  </a:cubicBezTo>
                  <a:cubicBezTo>
                    <a:pt x="21" y="385"/>
                    <a:pt x="126" y="490"/>
                    <a:pt x="256" y="490"/>
                  </a:cubicBezTo>
                  <a:cubicBezTo>
                    <a:pt x="385" y="490"/>
                    <a:pt x="490" y="385"/>
                    <a:pt x="490" y="256"/>
                  </a:cubicBezTo>
                  <a:cubicBezTo>
                    <a:pt x="490" y="126"/>
                    <a:pt x="385" y="21"/>
                    <a:pt x="256" y="21"/>
                  </a:cubicBezTo>
                  <a:moveTo>
                    <a:pt x="256" y="0"/>
                  </a:moveTo>
                  <a:cubicBezTo>
                    <a:pt x="397" y="0"/>
                    <a:pt x="512" y="114"/>
                    <a:pt x="512" y="256"/>
                  </a:cubicBez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Freeform 846">
              <a:extLst>
                <a:ext uri="{FF2B5EF4-FFF2-40B4-BE49-F238E27FC236}">
                  <a16:creationId xmlns:a16="http://schemas.microsoft.com/office/drawing/2014/main" id="{C76E7565-395A-AC5C-88AB-205A312247B6}"/>
                </a:ext>
              </a:extLst>
            </p:cNvPr>
            <p:cNvSpPr>
              <a:spLocks noEditPoints="1"/>
            </p:cNvSpPr>
            <p:nvPr/>
          </p:nvSpPr>
          <p:spPr bwMode="auto">
            <a:xfrm flipV="1">
              <a:off x="9256056" y="1909690"/>
              <a:ext cx="168275" cy="134938"/>
            </a:xfrm>
            <a:custGeom>
              <a:avLst/>
              <a:gdLst>
                <a:gd name="T0" fmla="*/ 64 w 320"/>
                <a:gd name="T1" fmla="*/ 171 h 256"/>
                <a:gd name="T2" fmla="*/ 64 w 320"/>
                <a:gd name="T3" fmla="*/ 128 h 256"/>
                <a:gd name="T4" fmla="*/ 256 w 320"/>
                <a:gd name="T5" fmla="*/ 128 h 256"/>
                <a:gd name="T6" fmla="*/ 256 w 320"/>
                <a:gd name="T7" fmla="*/ 171 h 256"/>
                <a:gd name="T8" fmla="*/ 256 w 320"/>
                <a:gd name="T9" fmla="*/ 128 h 256"/>
                <a:gd name="T10" fmla="*/ 309 w 320"/>
                <a:gd name="T11" fmla="*/ 202 h 256"/>
                <a:gd name="T12" fmla="*/ 298 w 320"/>
                <a:gd name="T13" fmla="*/ 256 h 256"/>
                <a:gd name="T14" fmla="*/ 234 w 320"/>
                <a:gd name="T15" fmla="*/ 245 h 256"/>
                <a:gd name="T16" fmla="*/ 165 w 320"/>
                <a:gd name="T17" fmla="*/ 224 h 256"/>
                <a:gd name="T18" fmla="*/ 85 w 320"/>
                <a:gd name="T19" fmla="*/ 245 h 256"/>
                <a:gd name="T20" fmla="*/ 21 w 320"/>
                <a:gd name="T21" fmla="*/ 256 h 256"/>
                <a:gd name="T22" fmla="*/ 10 w 320"/>
                <a:gd name="T23" fmla="*/ 203 h 256"/>
                <a:gd name="T24" fmla="*/ 10 w 320"/>
                <a:gd name="T25" fmla="*/ 203 h 256"/>
                <a:gd name="T26" fmla="*/ 10 w 320"/>
                <a:gd name="T27" fmla="*/ 203 h 256"/>
                <a:gd name="T28" fmla="*/ 10 w 320"/>
                <a:gd name="T29" fmla="*/ 199 h 256"/>
                <a:gd name="T30" fmla="*/ 0 w 320"/>
                <a:gd name="T31" fmla="*/ 181 h 256"/>
                <a:gd name="T32" fmla="*/ 44 w 320"/>
                <a:gd name="T33" fmla="*/ 88 h 256"/>
                <a:gd name="T34" fmla="*/ 32 w 320"/>
                <a:gd name="T35" fmla="*/ 85 h 256"/>
                <a:gd name="T36" fmla="*/ 32 w 320"/>
                <a:gd name="T37" fmla="*/ 64 h 256"/>
                <a:gd name="T38" fmla="*/ 64 w 320"/>
                <a:gd name="T39" fmla="*/ 29 h 256"/>
                <a:gd name="T40" fmla="*/ 106 w 320"/>
                <a:gd name="T41" fmla="*/ 0 h 256"/>
                <a:gd name="T42" fmla="*/ 254 w 320"/>
                <a:gd name="T43" fmla="*/ 27 h 256"/>
                <a:gd name="T44" fmla="*/ 267 w 320"/>
                <a:gd name="T45" fmla="*/ 64 h 256"/>
                <a:gd name="T46" fmla="*/ 298 w 320"/>
                <a:gd name="T47" fmla="*/ 75 h 256"/>
                <a:gd name="T48" fmla="*/ 274 w 320"/>
                <a:gd name="T49" fmla="*/ 85 h 256"/>
                <a:gd name="T50" fmla="*/ 320 w 320"/>
                <a:gd name="T51" fmla="*/ 149 h 256"/>
                <a:gd name="T52" fmla="*/ 316 w 320"/>
                <a:gd name="T53" fmla="*/ 194 h 256"/>
                <a:gd name="T54" fmla="*/ 252 w 320"/>
                <a:gd name="T55" fmla="*/ 85 h 256"/>
                <a:gd name="T56" fmla="*/ 213 w 320"/>
                <a:gd name="T57" fmla="*/ 21 h 256"/>
                <a:gd name="T58" fmla="*/ 84 w 320"/>
                <a:gd name="T59" fmla="*/ 36 h 256"/>
                <a:gd name="T60" fmla="*/ 64 w 320"/>
                <a:gd name="T61" fmla="*/ 217 h 256"/>
                <a:gd name="T62" fmla="*/ 32 w 320"/>
                <a:gd name="T63" fmla="*/ 235 h 256"/>
                <a:gd name="T64" fmla="*/ 64 w 320"/>
                <a:gd name="T65" fmla="*/ 217 h 256"/>
                <a:gd name="T66" fmla="*/ 298 w 320"/>
                <a:gd name="T67" fmla="*/ 183 h 256"/>
                <a:gd name="T68" fmla="*/ 298 w 320"/>
                <a:gd name="T69" fmla="*/ 149 h 256"/>
                <a:gd name="T70" fmla="*/ 62 w 320"/>
                <a:gd name="T71" fmla="*/ 107 h 256"/>
                <a:gd name="T72" fmla="*/ 21 w 320"/>
                <a:gd name="T73" fmla="*/ 180 h 256"/>
                <a:gd name="T74" fmla="*/ 288 w 320"/>
                <a:gd name="T75" fmla="*/ 212 h 256"/>
                <a:gd name="T76" fmla="*/ 256 w 320"/>
                <a:gd name="T77" fmla="*/ 235 h 256"/>
                <a:gd name="T78" fmla="*/ 288 w 320"/>
                <a:gd name="T79" fmla="*/ 212 h 256"/>
                <a:gd name="T80" fmla="*/ 128 w 320"/>
                <a:gd name="T81" fmla="*/ 139 h 256"/>
                <a:gd name="T82" fmla="*/ 128 w 320"/>
                <a:gd name="T83" fmla="*/ 160 h 256"/>
                <a:gd name="T84" fmla="*/ 202 w 320"/>
                <a:gd name="T85" fmla="*/ 14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56">
                  <a:moveTo>
                    <a:pt x="85" y="149"/>
                  </a:moveTo>
                  <a:cubicBezTo>
                    <a:pt x="85" y="161"/>
                    <a:pt x="75" y="171"/>
                    <a:pt x="64" y="171"/>
                  </a:cubicBezTo>
                  <a:cubicBezTo>
                    <a:pt x="52" y="171"/>
                    <a:pt x="42" y="161"/>
                    <a:pt x="42" y="149"/>
                  </a:cubicBezTo>
                  <a:cubicBezTo>
                    <a:pt x="42" y="138"/>
                    <a:pt x="52" y="128"/>
                    <a:pt x="64" y="128"/>
                  </a:cubicBezTo>
                  <a:cubicBezTo>
                    <a:pt x="75" y="128"/>
                    <a:pt x="85" y="138"/>
                    <a:pt x="85" y="149"/>
                  </a:cubicBezTo>
                  <a:close/>
                  <a:moveTo>
                    <a:pt x="256" y="128"/>
                  </a:moveTo>
                  <a:cubicBezTo>
                    <a:pt x="244" y="128"/>
                    <a:pt x="234" y="138"/>
                    <a:pt x="234" y="149"/>
                  </a:cubicBezTo>
                  <a:cubicBezTo>
                    <a:pt x="234" y="161"/>
                    <a:pt x="244" y="171"/>
                    <a:pt x="256" y="171"/>
                  </a:cubicBezTo>
                  <a:cubicBezTo>
                    <a:pt x="267" y="171"/>
                    <a:pt x="277" y="161"/>
                    <a:pt x="277" y="149"/>
                  </a:cubicBezTo>
                  <a:cubicBezTo>
                    <a:pt x="277" y="138"/>
                    <a:pt x="267" y="128"/>
                    <a:pt x="256" y="128"/>
                  </a:cubicBezTo>
                  <a:close/>
                  <a:moveTo>
                    <a:pt x="316" y="194"/>
                  </a:moveTo>
                  <a:cubicBezTo>
                    <a:pt x="314" y="197"/>
                    <a:pt x="312" y="199"/>
                    <a:pt x="309" y="202"/>
                  </a:cubicBezTo>
                  <a:cubicBezTo>
                    <a:pt x="309" y="202"/>
                    <a:pt x="309" y="245"/>
                    <a:pt x="309" y="245"/>
                  </a:cubicBezTo>
                  <a:cubicBezTo>
                    <a:pt x="309" y="251"/>
                    <a:pt x="304" y="256"/>
                    <a:pt x="298" y="256"/>
                  </a:cubicBezTo>
                  <a:cubicBezTo>
                    <a:pt x="245" y="256"/>
                    <a:pt x="245" y="256"/>
                    <a:pt x="245" y="256"/>
                  </a:cubicBezTo>
                  <a:cubicBezTo>
                    <a:pt x="239" y="256"/>
                    <a:pt x="234" y="251"/>
                    <a:pt x="234" y="245"/>
                  </a:cubicBezTo>
                  <a:cubicBezTo>
                    <a:pt x="234" y="221"/>
                    <a:pt x="234" y="221"/>
                    <a:pt x="234" y="221"/>
                  </a:cubicBezTo>
                  <a:cubicBezTo>
                    <a:pt x="215" y="223"/>
                    <a:pt x="192" y="224"/>
                    <a:pt x="165" y="224"/>
                  </a:cubicBezTo>
                  <a:cubicBezTo>
                    <a:pt x="134" y="224"/>
                    <a:pt x="107" y="223"/>
                    <a:pt x="85" y="220"/>
                  </a:cubicBezTo>
                  <a:cubicBezTo>
                    <a:pt x="85" y="245"/>
                    <a:pt x="85" y="245"/>
                    <a:pt x="85" y="245"/>
                  </a:cubicBezTo>
                  <a:cubicBezTo>
                    <a:pt x="85" y="251"/>
                    <a:pt x="80" y="256"/>
                    <a:pt x="74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15" y="256"/>
                    <a:pt x="10" y="251"/>
                    <a:pt x="10" y="245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199"/>
                    <a:pt x="10" y="199"/>
                    <a:pt x="10" y="199"/>
                  </a:cubicBezTo>
                  <a:cubicBezTo>
                    <a:pt x="10" y="199"/>
                    <a:pt x="7" y="197"/>
                    <a:pt x="6" y="195"/>
                  </a:cubicBezTo>
                  <a:cubicBezTo>
                    <a:pt x="0" y="189"/>
                    <a:pt x="0" y="183"/>
                    <a:pt x="0" y="181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20"/>
                    <a:pt x="19" y="96"/>
                    <a:pt x="44" y="88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26" y="85"/>
                    <a:pt x="21" y="81"/>
                    <a:pt x="21" y="75"/>
                  </a:cubicBezTo>
                  <a:cubicBezTo>
                    <a:pt x="21" y="69"/>
                    <a:pt x="26" y="64"/>
                    <a:pt x="3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8"/>
                    <a:pt x="65" y="28"/>
                    <a:pt x="65" y="27"/>
                  </a:cubicBezTo>
                  <a:cubicBezTo>
                    <a:pt x="65" y="26"/>
                    <a:pt x="80" y="0"/>
                    <a:pt x="106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40" y="0"/>
                    <a:pt x="254" y="26"/>
                    <a:pt x="254" y="27"/>
                  </a:cubicBezTo>
                  <a:cubicBezTo>
                    <a:pt x="255" y="28"/>
                    <a:pt x="255" y="28"/>
                    <a:pt x="255" y="29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94" y="64"/>
                    <a:pt x="298" y="69"/>
                    <a:pt x="298" y="75"/>
                  </a:cubicBezTo>
                  <a:cubicBezTo>
                    <a:pt x="298" y="81"/>
                    <a:pt x="294" y="85"/>
                    <a:pt x="288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301" y="96"/>
                    <a:pt x="320" y="120"/>
                    <a:pt x="320" y="149"/>
                  </a:cubicBezTo>
                  <a:cubicBezTo>
                    <a:pt x="320" y="180"/>
                    <a:pt x="320" y="180"/>
                    <a:pt x="320" y="180"/>
                  </a:cubicBezTo>
                  <a:cubicBezTo>
                    <a:pt x="320" y="184"/>
                    <a:pt x="320" y="189"/>
                    <a:pt x="316" y="194"/>
                  </a:cubicBezTo>
                  <a:close/>
                  <a:moveTo>
                    <a:pt x="68" y="85"/>
                  </a:moveTo>
                  <a:cubicBezTo>
                    <a:pt x="252" y="85"/>
                    <a:pt x="252" y="85"/>
                    <a:pt x="252" y="85"/>
                  </a:cubicBezTo>
                  <a:cubicBezTo>
                    <a:pt x="235" y="36"/>
                    <a:pt x="235" y="36"/>
                    <a:pt x="235" y="36"/>
                  </a:cubicBezTo>
                  <a:cubicBezTo>
                    <a:pt x="233" y="34"/>
                    <a:pt x="225" y="21"/>
                    <a:pt x="213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4" y="21"/>
                    <a:pt x="86" y="33"/>
                    <a:pt x="84" y="36"/>
                  </a:cubicBezTo>
                  <a:lnTo>
                    <a:pt x="68" y="85"/>
                  </a:lnTo>
                  <a:close/>
                  <a:moveTo>
                    <a:pt x="64" y="217"/>
                  </a:moveTo>
                  <a:cubicBezTo>
                    <a:pt x="51" y="215"/>
                    <a:pt x="41" y="213"/>
                    <a:pt x="32" y="210"/>
                  </a:cubicBezTo>
                  <a:cubicBezTo>
                    <a:pt x="32" y="235"/>
                    <a:pt x="32" y="235"/>
                    <a:pt x="32" y="235"/>
                  </a:cubicBezTo>
                  <a:cubicBezTo>
                    <a:pt x="64" y="235"/>
                    <a:pt x="64" y="235"/>
                    <a:pt x="64" y="235"/>
                  </a:cubicBezTo>
                  <a:lnTo>
                    <a:pt x="64" y="217"/>
                  </a:lnTo>
                  <a:close/>
                  <a:moveTo>
                    <a:pt x="165" y="203"/>
                  </a:moveTo>
                  <a:cubicBezTo>
                    <a:pt x="278" y="203"/>
                    <a:pt x="296" y="185"/>
                    <a:pt x="298" y="183"/>
                  </a:cubicBezTo>
                  <a:cubicBezTo>
                    <a:pt x="298" y="182"/>
                    <a:pt x="298" y="182"/>
                    <a:pt x="298" y="181"/>
                  </a:cubicBezTo>
                  <a:cubicBezTo>
                    <a:pt x="298" y="149"/>
                    <a:pt x="298" y="149"/>
                    <a:pt x="298" y="149"/>
                  </a:cubicBezTo>
                  <a:cubicBezTo>
                    <a:pt x="298" y="126"/>
                    <a:pt x="280" y="107"/>
                    <a:pt x="258" y="107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39" y="107"/>
                    <a:pt x="21" y="126"/>
                    <a:pt x="21" y="149"/>
                  </a:cubicBezTo>
                  <a:cubicBezTo>
                    <a:pt x="21" y="180"/>
                    <a:pt x="21" y="180"/>
                    <a:pt x="21" y="180"/>
                  </a:cubicBezTo>
                  <a:cubicBezTo>
                    <a:pt x="23" y="183"/>
                    <a:pt x="43" y="203"/>
                    <a:pt x="165" y="203"/>
                  </a:cubicBezTo>
                  <a:close/>
                  <a:moveTo>
                    <a:pt x="288" y="212"/>
                  </a:moveTo>
                  <a:cubicBezTo>
                    <a:pt x="279" y="215"/>
                    <a:pt x="268" y="217"/>
                    <a:pt x="256" y="219"/>
                  </a:cubicBezTo>
                  <a:cubicBezTo>
                    <a:pt x="256" y="235"/>
                    <a:pt x="256" y="235"/>
                    <a:pt x="256" y="235"/>
                  </a:cubicBezTo>
                  <a:cubicBezTo>
                    <a:pt x="288" y="235"/>
                    <a:pt x="288" y="235"/>
                    <a:pt x="288" y="235"/>
                  </a:cubicBezTo>
                  <a:lnTo>
                    <a:pt x="288" y="212"/>
                  </a:lnTo>
                  <a:close/>
                  <a:moveTo>
                    <a:pt x="192" y="139"/>
                  </a:moveTo>
                  <a:cubicBezTo>
                    <a:pt x="128" y="139"/>
                    <a:pt x="128" y="139"/>
                    <a:pt x="128" y="139"/>
                  </a:cubicBezTo>
                  <a:cubicBezTo>
                    <a:pt x="122" y="139"/>
                    <a:pt x="117" y="143"/>
                    <a:pt x="117" y="149"/>
                  </a:cubicBezTo>
                  <a:cubicBezTo>
                    <a:pt x="117" y="155"/>
                    <a:pt x="122" y="160"/>
                    <a:pt x="128" y="160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8" y="160"/>
                    <a:pt x="202" y="155"/>
                    <a:pt x="202" y="149"/>
                  </a:cubicBezTo>
                  <a:cubicBezTo>
                    <a:pt x="202" y="143"/>
                    <a:pt x="198" y="139"/>
                    <a:pt x="192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FAEDAB39-F437-1A05-A67E-B92B516A5B4E}"/>
              </a:ext>
            </a:extLst>
          </p:cNvPr>
          <p:cNvSpPr>
            <a:spLocks noChangeAspect="1"/>
          </p:cNvSpPr>
          <p:nvPr/>
        </p:nvSpPr>
        <p:spPr bwMode="gray">
          <a:xfrm>
            <a:off x="741565" y="3825193"/>
            <a:ext cx="288000" cy="288000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0</a:t>
            </a:r>
          </a:p>
        </p:txBody>
      </p:sp>
      <p:grpSp>
        <p:nvGrpSpPr>
          <p:cNvPr id="19" name="Group 547">
            <a:extLst>
              <a:ext uri="{FF2B5EF4-FFF2-40B4-BE49-F238E27FC236}">
                <a16:creationId xmlns:a16="http://schemas.microsoft.com/office/drawing/2014/main" id="{3CE9B07C-A775-A6F9-1BF4-F7A334CE0C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2511" y="3512192"/>
            <a:ext cx="286488" cy="288000"/>
            <a:chOff x="4310" y="1908"/>
            <a:chExt cx="340" cy="341"/>
          </a:xfrm>
          <a:solidFill>
            <a:schemeClr val="tx2"/>
          </a:solidFill>
        </p:grpSpPr>
        <p:sp>
          <p:nvSpPr>
            <p:cNvPr id="20" name="Freeform 548">
              <a:extLst>
                <a:ext uri="{FF2B5EF4-FFF2-40B4-BE49-F238E27FC236}">
                  <a16:creationId xmlns:a16="http://schemas.microsoft.com/office/drawing/2014/main" id="{2DDA5FF1-1BFE-05D3-0A17-0B914B17A8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0" y="1908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549">
              <a:extLst>
                <a:ext uri="{FF2B5EF4-FFF2-40B4-BE49-F238E27FC236}">
                  <a16:creationId xmlns:a16="http://schemas.microsoft.com/office/drawing/2014/main" id="{3495062D-418E-E4BD-7A94-164E27571A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8" y="1972"/>
              <a:ext cx="184" cy="198"/>
            </a:xfrm>
            <a:custGeom>
              <a:avLst/>
              <a:gdLst>
                <a:gd name="T0" fmla="*/ 267 w 277"/>
                <a:gd name="T1" fmla="*/ 277 h 298"/>
                <a:gd name="T2" fmla="*/ 245 w 277"/>
                <a:gd name="T3" fmla="*/ 277 h 298"/>
                <a:gd name="T4" fmla="*/ 245 w 277"/>
                <a:gd name="T5" fmla="*/ 274 h 298"/>
                <a:gd name="T6" fmla="*/ 159 w 277"/>
                <a:gd name="T7" fmla="*/ 7 h 298"/>
                <a:gd name="T8" fmla="*/ 149 w 277"/>
                <a:gd name="T9" fmla="*/ 0 h 298"/>
                <a:gd name="T10" fmla="*/ 128 w 277"/>
                <a:gd name="T11" fmla="*/ 0 h 298"/>
                <a:gd name="T12" fmla="*/ 118 w 277"/>
                <a:gd name="T13" fmla="*/ 7 h 298"/>
                <a:gd name="T14" fmla="*/ 33 w 277"/>
                <a:gd name="T15" fmla="*/ 274 h 298"/>
                <a:gd name="T16" fmla="*/ 32 w 277"/>
                <a:gd name="T17" fmla="*/ 277 h 298"/>
                <a:gd name="T18" fmla="*/ 11 w 277"/>
                <a:gd name="T19" fmla="*/ 277 h 298"/>
                <a:gd name="T20" fmla="*/ 0 w 277"/>
                <a:gd name="T21" fmla="*/ 288 h 298"/>
                <a:gd name="T22" fmla="*/ 11 w 277"/>
                <a:gd name="T23" fmla="*/ 298 h 298"/>
                <a:gd name="T24" fmla="*/ 267 w 277"/>
                <a:gd name="T25" fmla="*/ 298 h 298"/>
                <a:gd name="T26" fmla="*/ 277 w 277"/>
                <a:gd name="T27" fmla="*/ 288 h 298"/>
                <a:gd name="T28" fmla="*/ 267 w 277"/>
                <a:gd name="T29" fmla="*/ 277 h 298"/>
                <a:gd name="T30" fmla="*/ 108 w 277"/>
                <a:gd name="T31" fmla="*/ 106 h 298"/>
                <a:gd name="T32" fmla="*/ 169 w 277"/>
                <a:gd name="T33" fmla="*/ 106 h 298"/>
                <a:gd name="T34" fmla="*/ 193 w 277"/>
                <a:gd name="T35" fmla="*/ 181 h 298"/>
                <a:gd name="T36" fmla="*/ 85 w 277"/>
                <a:gd name="T37" fmla="*/ 181 h 298"/>
                <a:gd name="T38" fmla="*/ 108 w 277"/>
                <a:gd name="T39" fmla="*/ 106 h 298"/>
                <a:gd name="T40" fmla="*/ 136 w 277"/>
                <a:gd name="T41" fmla="*/ 21 h 298"/>
                <a:gd name="T42" fmla="*/ 142 w 277"/>
                <a:gd name="T43" fmla="*/ 21 h 298"/>
                <a:gd name="T44" fmla="*/ 162 w 277"/>
                <a:gd name="T45" fmla="*/ 85 h 298"/>
                <a:gd name="T46" fmla="*/ 115 w 277"/>
                <a:gd name="T47" fmla="*/ 85 h 298"/>
                <a:gd name="T48" fmla="*/ 136 w 277"/>
                <a:gd name="T49" fmla="*/ 21 h 298"/>
                <a:gd name="T50" fmla="*/ 78 w 277"/>
                <a:gd name="T51" fmla="*/ 202 h 298"/>
                <a:gd name="T52" fmla="*/ 200 w 277"/>
                <a:gd name="T53" fmla="*/ 202 h 298"/>
                <a:gd name="T54" fmla="*/ 223 w 277"/>
                <a:gd name="T55" fmla="*/ 277 h 298"/>
                <a:gd name="T56" fmla="*/ 54 w 277"/>
                <a:gd name="T57" fmla="*/ 277 h 298"/>
                <a:gd name="T58" fmla="*/ 78 w 277"/>
                <a:gd name="T59" fmla="*/ 202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7" h="298">
                  <a:moveTo>
                    <a:pt x="267" y="277"/>
                  </a:move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5" y="275"/>
                    <a:pt x="245" y="274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8" y="3"/>
                    <a:pt x="154" y="0"/>
                    <a:pt x="149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3" y="0"/>
                    <a:pt x="119" y="3"/>
                    <a:pt x="118" y="7"/>
                  </a:cubicBezTo>
                  <a:cubicBezTo>
                    <a:pt x="33" y="274"/>
                    <a:pt x="33" y="274"/>
                    <a:pt x="33" y="274"/>
                  </a:cubicBezTo>
                  <a:cubicBezTo>
                    <a:pt x="32" y="275"/>
                    <a:pt x="32" y="277"/>
                    <a:pt x="32" y="277"/>
                  </a:cubicBezTo>
                  <a:cubicBezTo>
                    <a:pt x="11" y="277"/>
                    <a:pt x="11" y="277"/>
                    <a:pt x="11" y="277"/>
                  </a:cubicBezTo>
                  <a:cubicBezTo>
                    <a:pt x="5" y="277"/>
                    <a:pt x="0" y="282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282"/>
                    <a:pt x="273" y="277"/>
                    <a:pt x="267" y="277"/>
                  </a:cubicBezTo>
                  <a:close/>
                  <a:moveTo>
                    <a:pt x="108" y="106"/>
                  </a:moveTo>
                  <a:cubicBezTo>
                    <a:pt x="169" y="106"/>
                    <a:pt x="169" y="106"/>
                    <a:pt x="169" y="106"/>
                  </a:cubicBezTo>
                  <a:cubicBezTo>
                    <a:pt x="193" y="181"/>
                    <a:pt x="193" y="181"/>
                    <a:pt x="193" y="181"/>
                  </a:cubicBezTo>
                  <a:cubicBezTo>
                    <a:pt x="85" y="181"/>
                    <a:pt x="85" y="181"/>
                    <a:pt x="85" y="181"/>
                  </a:cubicBezTo>
                  <a:lnTo>
                    <a:pt x="108" y="106"/>
                  </a:lnTo>
                  <a:close/>
                  <a:moveTo>
                    <a:pt x="136" y="21"/>
                  </a:moveTo>
                  <a:cubicBezTo>
                    <a:pt x="142" y="21"/>
                    <a:pt x="142" y="21"/>
                    <a:pt x="142" y="21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15" y="85"/>
                    <a:pt x="115" y="85"/>
                    <a:pt x="115" y="85"/>
                  </a:cubicBezTo>
                  <a:lnTo>
                    <a:pt x="136" y="21"/>
                  </a:lnTo>
                  <a:close/>
                  <a:moveTo>
                    <a:pt x="78" y="202"/>
                  </a:moveTo>
                  <a:cubicBezTo>
                    <a:pt x="200" y="202"/>
                    <a:pt x="200" y="202"/>
                    <a:pt x="200" y="202"/>
                  </a:cubicBezTo>
                  <a:cubicBezTo>
                    <a:pt x="223" y="277"/>
                    <a:pt x="223" y="277"/>
                    <a:pt x="223" y="277"/>
                  </a:cubicBezTo>
                  <a:cubicBezTo>
                    <a:pt x="54" y="277"/>
                    <a:pt x="54" y="277"/>
                    <a:pt x="54" y="277"/>
                  </a:cubicBezTo>
                  <a:lnTo>
                    <a:pt x="7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3" name="Group 844">
            <a:extLst>
              <a:ext uri="{FF2B5EF4-FFF2-40B4-BE49-F238E27FC236}">
                <a16:creationId xmlns:a16="http://schemas.microsoft.com/office/drawing/2014/main" id="{424D676D-530A-5096-DE30-F1B537D57B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8161" y="5385956"/>
            <a:ext cx="277448" cy="288000"/>
            <a:chOff x="4780" y="3821"/>
            <a:chExt cx="340" cy="340"/>
          </a:xfrm>
          <a:solidFill>
            <a:schemeClr val="tx2"/>
          </a:solidFill>
        </p:grpSpPr>
        <p:sp>
          <p:nvSpPr>
            <p:cNvPr id="25" name="Freeform 845">
              <a:extLst>
                <a:ext uri="{FF2B5EF4-FFF2-40B4-BE49-F238E27FC236}">
                  <a16:creationId xmlns:a16="http://schemas.microsoft.com/office/drawing/2014/main" id="{537AF3C4-ED67-BB1E-6985-131DA2101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0" y="382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21 w 512"/>
                <a:gd name="T3" fmla="*/ 256 h 512"/>
                <a:gd name="T4" fmla="*/ 256 w 512"/>
                <a:gd name="T5" fmla="*/ 490 h 512"/>
                <a:gd name="T6" fmla="*/ 490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512 w 512"/>
                <a:gd name="T13" fmla="*/ 256 h 512"/>
                <a:gd name="T14" fmla="*/ 256 w 512"/>
                <a:gd name="T15" fmla="*/ 512 h 512"/>
                <a:gd name="T16" fmla="*/ 0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126" y="21"/>
                    <a:pt x="21" y="126"/>
                    <a:pt x="21" y="256"/>
                  </a:cubicBezTo>
                  <a:cubicBezTo>
                    <a:pt x="21" y="385"/>
                    <a:pt x="126" y="490"/>
                    <a:pt x="256" y="490"/>
                  </a:cubicBezTo>
                  <a:cubicBezTo>
                    <a:pt x="385" y="490"/>
                    <a:pt x="490" y="385"/>
                    <a:pt x="490" y="256"/>
                  </a:cubicBezTo>
                  <a:cubicBezTo>
                    <a:pt x="490" y="126"/>
                    <a:pt x="385" y="21"/>
                    <a:pt x="256" y="21"/>
                  </a:cubicBezTo>
                  <a:moveTo>
                    <a:pt x="256" y="0"/>
                  </a:moveTo>
                  <a:cubicBezTo>
                    <a:pt x="397" y="0"/>
                    <a:pt x="512" y="114"/>
                    <a:pt x="512" y="256"/>
                  </a:cubicBez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Freeform 846">
              <a:extLst>
                <a:ext uri="{FF2B5EF4-FFF2-40B4-BE49-F238E27FC236}">
                  <a16:creationId xmlns:a16="http://schemas.microsoft.com/office/drawing/2014/main" id="{44E17ABD-15C7-D290-7430-76B2CDC07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4" y="3899"/>
              <a:ext cx="212" cy="170"/>
            </a:xfrm>
            <a:custGeom>
              <a:avLst/>
              <a:gdLst>
                <a:gd name="T0" fmla="*/ 64 w 320"/>
                <a:gd name="T1" fmla="*/ 171 h 256"/>
                <a:gd name="T2" fmla="*/ 64 w 320"/>
                <a:gd name="T3" fmla="*/ 128 h 256"/>
                <a:gd name="T4" fmla="*/ 256 w 320"/>
                <a:gd name="T5" fmla="*/ 128 h 256"/>
                <a:gd name="T6" fmla="*/ 256 w 320"/>
                <a:gd name="T7" fmla="*/ 171 h 256"/>
                <a:gd name="T8" fmla="*/ 256 w 320"/>
                <a:gd name="T9" fmla="*/ 128 h 256"/>
                <a:gd name="T10" fmla="*/ 309 w 320"/>
                <a:gd name="T11" fmla="*/ 202 h 256"/>
                <a:gd name="T12" fmla="*/ 298 w 320"/>
                <a:gd name="T13" fmla="*/ 256 h 256"/>
                <a:gd name="T14" fmla="*/ 234 w 320"/>
                <a:gd name="T15" fmla="*/ 245 h 256"/>
                <a:gd name="T16" fmla="*/ 165 w 320"/>
                <a:gd name="T17" fmla="*/ 224 h 256"/>
                <a:gd name="T18" fmla="*/ 85 w 320"/>
                <a:gd name="T19" fmla="*/ 245 h 256"/>
                <a:gd name="T20" fmla="*/ 21 w 320"/>
                <a:gd name="T21" fmla="*/ 256 h 256"/>
                <a:gd name="T22" fmla="*/ 10 w 320"/>
                <a:gd name="T23" fmla="*/ 203 h 256"/>
                <a:gd name="T24" fmla="*/ 10 w 320"/>
                <a:gd name="T25" fmla="*/ 203 h 256"/>
                <a:gd name="T26" fmla="*/ 10 w 320"/>
                <a:gd name="T27" fmla="*/ 203 h 256"/>
                <a:gd name="T28" fmla="*/ 10 w 320"/>
                <a:gd name="T29" fmla="*/ 199 h 256"/>
                <a:gd name="T30" fmla="*/ 0 w 320"/>
                <a:gd name="T31" fmla="*/ 181 h 256"/>
                <a:gd name="T32" fmla="*/ 44 w 320"/>
                <a:gd name="T33" fmla="*/ 88 h 256"/>
                <a:gd name="T34" fmla="*/ 32 w 320"/>
                <a:gd name="T35" fmla="*/ 85 h 256"/>
                <a:gd name="T36" fmla="*/ 32 w 320"/>
                <a:gd name="T37" fmla="*/ 64 h 256"/>
                <a:gd name="T38" fmla="*/ 64 w 320"/>
                <a:gd name="T39" fmla="*/ 29 h 256"/>
                <a:gd name="T40" fmla="*/ 106 w 320"/>
                <a:gd name="T41" fmla="*/ 0 h 256"/>
                <a:gd name="T42" fmla="*/ 254 w 320"/>
                <a:gd name="T43" fmla="*/ 27 h 256"/>
                <a:gd name="T44" fmla="*/ 267 w 320"/>
                <a:gd name="T45" fmla="*/ 64 h 256"/>
                <a:gd name="T46" fmla="*/ 298 w 320"/>
                <a:gd name="T47" fmla="*/ 75 h 256"/>
                <a:gd name="T48" fmla="*/ 274 w 320"/>
                <a:gd name="T49" fmla="*/ 85 h 256"/>
                <a:gd name="T50" fmla="*/ 320 w 320"/>
                <a:gd name="T51" fmla="*/ 149 h 256"/>
                <a:gd name="T52" fmla="*/ 316 w 320"/>
                <a:gd name="T53" fmla="*/ 194 h 256"/>
                <a:gd name="T54" fmla="*/ 252 w 320"/>
                <a:gd name="T55" fmla="*/ 85 h 256"/>
                <a:gd name="T56" fmla="*/ 213 w 320"/>
                <a:gd name="T57" fmla="*/ 21 h 256"/>
                <a:gd name="T58" fmla="*/ 84 w 320"/>
                <a:gd name="T59" fmla="*/ 36 h 256"/>
                <a:gd name="T60" fmla="*/ 64 w 320"/>
                <a:gd name="T61" fmla="*/ 217 h 256"/>
                <a:gd name="T62" fmla="*/ 32 w 320"/>
                <a:gd name="T63" fmla="*/ 235 h 256"/>
                <a:gd name="T64" fmla="*/ 64 w 320"/>
                <a:gd name="T65" fmla="*/ 217 h 256"/>
                <a:gd name="T66" fmla="*/ 298 w 320"/>
                <a:gd name="T67" fmla="*/ 183 h 256"/>
                <a:gd name="T68" fmla="*/ 298 w 320"/>
                <a:gd name="T69" fmla="*/ 149 h 256"/>
                <a:gd name="T70" fmla="*/ 62 w 320"/>
                <a:gd name="T71" fmla="*/ 107 h 256"/>
                <a:gd name="T72" fmla="*/ 21 w 320"/>
                <a:gd name="T73" fmla="*/ 180 h 256"/>
                <a:gd name="T74" fmla="*/ 288 w 320"/>
                <a:gd name="T75" fmla="*/ 212 h 256"/>
                <a:gd name="T76" fmla="*/ 256 w 320"/>
                <a:gd name="T77" fmla="*/ 235 h 256"/>
                <a:gd name="T78" fmla="*/ 288 w 320"/>
                <a:gd name="T79" fmla="*/ 212 h 256"/>
                <a:gd name="T80" fmla="*/ 128 w 320"/>
                <a:gd name="T81" fmla="*/ 139 h 256"/>
                <a:gd name="T82" fmla="*/ 128 w 320"/>
                <a:gd name="T83" fmla="*/ 160 h 256"/>
                <a:gd name="T84" fmla="*/ 202 w 320"/>
                <a:gd name="T85" fmla="*/ 14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56">
                  <a:moveTo>
                    <a:pt x="85" y="149"/>
                  </a:moveTo>
                  <a:cubicBezTo>
                    <a:pt x="85" y="161"/>
                    <a:pt x="75" y="171"/>
                    <a:pt x="64" y="171"/>
                  </a:cubicBezTo>
                  <a:cubicBezTo>
                    <a:pt x="52" y="171"/>
                    <a:pt x="42" y="161"/>
                    <a:pt x="42" y="149"/>
                  </a:cubicBezTo>
                  <a:cubicBezTo>
                    <a:pt x="42" y="138"/>
                    <a:pt x="52" y="128"/>
                    <a:pt x="64" y="128"/>
                  </a:cubicBezTo>
                  <a:cubicBezTo>
                    <a:pt x="75" y="128"/>
                    <a:pt x="85" y="138"/>
                    <a:pt x="85" y="149"/>
                  </a:cubicBezTo>
                  <a:close/>
                  <a:moveTo>
                    <a:pt x="256" y="128"/>
                  </a:moveTo>
                  <a:cubicBezTo>
                    <a:pt x="244" y="128"/>
                    <a:pt x="234" y="138"/>
                    <a:pt x="234" y="149"/>
                  </a:cubicBezTo>
                  <a:cubicBezTo>
                    <a:pt x="234" y="161"/>
                    <a:pt x="244" y="171"/>
                    <a:pt x="256" y="171"/>
                  </a:cubicBezTo>
                  <a:cubicBezTo>
                    <a:pt x="267" y="171"/>
                    <a:pt x="277" y="161"/>
                    <a:pt x="277" y="149"/>
                  </a:cubicBezTo>
                  <a:cubicBezTo>
                    <a:pt x="277" y="138"/>
                    <a:pt x="267" y="128"/>
                    <a:pt x="256" y="128"/>
                  </a:cubicBezTo>
                  <a:close/>
                  <a:moveTo>
                    <a:pt x="316" y="194"/>
                  </a:moveTo>
                  <a:cubicBezTo>
                    <a:pt x="314" y="197"/>
                    <a:pt x="312" y="199"/>
                    <a:pt x="309" y="202"/>
                  </a:cubicBezTo>
                  <a:cubicBezTo>
                    <a:pt x="309" y="202"/>
                    <a:pt x="309" y="245"/>
                    <a:pt x="309" y="245"/>
                  </a:cubicBezTo>
                  <a:cubicBezTo>
                    <a:pt x="309" y="251"/>
                    <a:pt x="304" y="256"/>
                    <a:pt x="298" y="256"/>
                  </a:cubicBezTo>
                  <a:cubicBezTo>
                    <a:pt x="245" y="256"/>
                    <a:pt x="245" y="256"/>
                    <a:pt x="245" y="256"/>
                  </a:cubicBezTo>
                  <a:cubicBezTo>
                    <a:pt x="239" y="256"/>
                    <a:pt x="234" y="251"/>
                    <a:pt x="234" y="245"/>
                  </a:cubicBezTo>
                  <a:cubicBezTo>
                    <a:pt x="234" y="221"/>
                    <a:pt x="234" y="221"/>
                    <a:pt x="234" y="221"/>
                  </a:cubicBezTo>
                  <a:cubicBezTo>
                    <a:pt x="215" y="223"/>
                    <a:pt x="192" y="224"/>
                    <a:pt x="165" y="224"/>
                  </a:cubicBezTo>
                  <a:cubicBezTo>
                    <a:pt x="134" y="224"/>
                    <a:pt x="107" y="223"/>
                    <a:pt x="85" y="220"/>
                  </a:cubicBezTo>
                  <a:cubicBezTo>
                    <a:pt x="85" y="245"/>
                    <a:pt x="85" y="245"/>
                    <a:pt x="85" y="245"/>
                  </a:cubicBezTo>
                  <a:cubicBezTo>
                    <a:pt x="85" y="251"/>
                    <a:pt x="80" y="256"/>
                    <a:pt x="74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15" y="256"/>
                    <a:pt x="10" y="251"/>
                    <a:pt x="10" y="245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199"/>
                    <a:pt x="10" y="199"/>
                    <a:pt x="10" y="199"/>
                  </a:cubicBezTo>
                  <a:cubicBezTo>
                    <a:pt x="10" y="199"/>
                    <a:pt x="7" y="197"/>
                    <a:pt x="6" y="195"/>
                  </a:cubicBezTo>
                  <a:cubicBezTo>
                    <a:pt x="0" y="189"/>
                    <a:pt x="0" y="183"/>
                    <a:pt x="0" y="181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20"/>
                    <a:pt x="19" y="96"/>
                    <a:pt x="44" y="88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26" y="85"/>
                    <a:pt x="21" y="81"/>
                    <a:pt x="21" y="75"/>
                  </a:cubicBezTo>
                  <a:cubicBezTo>
                    <a:pt x="21" y="69"/>
                    <a:pt x="26" y="64"/>
                    <a:pt x="3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8"/>
                    <a:pt x="65" y="28"/>
                    <a:pt x="65" y="27"/>
                  </a:cubicBezTo>
                  <a:cubicBezTo>
                    <a:pt x="65" y="26"/>
                    <a:pt x="80" y="0"/>
                    <a:pt x="106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40" y="0"/>
                    <a:pt x="254" y="26"/>
                    <a:pt x="254" y="27"/>
                  </a:cubicBezTo>
                  <a:cubicBezTo>
                    <a:pt x="255" y="28"/>
                    <a:pt x="255" y="28"/>
                    <a:pt x="255" y="29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94" y="64"/>
                    <a:pt x="298" y="69"/>
                    <a:pt x="298" y="75"/>
                  </a:cubicBezTo>
                  <a:cubicBezTo>
                    <a:pt x="298" y="81"/>
                    <a:pt x="294" y="85"/>
                    <a:pt x="288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301" y="96"/>
                    <a:pt x="320" y="120"/>
                    <a:pt x="320" y="149"/>
                  </a:cubicBezTo>
                  <a:cubicBezTo>
                    <a:pt x="320" y="180"/>
                    <a:pt x="320" y="180"/>
                    <a:pt x="320" y="180"/>
                  </a:cubicBezTo>
                  <a:cubicBezTo>
                    <a:pt x="320" y="184"/>
                    <a:pt x="320" y="189"/>
                    <a:pt x="316" y="194"/>
                  </a:cubicBezTo>
                  <a:close/>
                  <a:moveTo>
                    <a:pt x="68" y="85"/>
                  </a:moveTo>
                  <a:cubicBezTo>
                    <a:pt x="252" y="85"/>
                    <a:pt x="252" y="85"/>
                    <a:pt x="252" y="85"/>
                  </a:cubicBezTo>
                  <a:cubicBezTo>
                    <a:pt x="235" y="36"/>
                    <a:pt x="235" y="36"/>
                    <a:pt x="235" y="36"/>
                  </a:cubicBezTo>
                  <a:cubicBezTo>
                    <a:pt x="233" y="34"/>
                    <a:pt x="225" y="21"/>
                    <a:pt x="213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4" y="21"/>
                    <a:pt x="86" y="33"/>
                    <a:pt x="84" y="36"/>
                  </a:cubicBezTo>
                  <a:lnTo>
                    <a:pt x="68" y="85"/>
                  </a:lnTo>
                  <a:close/>
                  <a:moveTo>
                    <a:pt x="64" y="217"/>
                  </a:moveTo>
                  <a:cubicBezTo>
                    <a:pt x="51" y="215"/>
                    <a:pt x="41" y="213"/>
                    <a:pt x="32" y="210"/>
                  </a:cubicBezTo>
                  <a:cubicBezTo>
                    <a:pt x="32" y="235"/>
                    <a:pt x="32" y="235"/>
                    <a:pt x="32" y="235"/>
                  </a:cubicBezTo>
                  <a:cubicBezTo>
                    <a:pt x="64" y="235"/>
                    <a:pt x="64" y="235"/>
                    <a:pt x="64" y="235"/>
                  </a:cubicBezTo>
                  <a:lnTo>
                    <a:pt x="64" y="217"/>
                  </a:lnTo>
                  <a:close/>
                  <a:moveTo>
                    <a:pt x="165" y="203"/>
                  </a:moveTo>
                  <a:cubicBezTo>
                    <a:pt x="278" y="203"/>
                    <a:pt x="296" y="185"/>
                    <a:pt x="298" y="183"/>
                  </a:cubicBezTo>
                  <a:cubicBezTo>
                    <a:pt x="298" y="182"/>
                    <a:pt x="298" y="182"/>
                    <a:pt x="298" y="181"/>
                  </a:cubicBezTo>
                  <a:cubicBezTo>
                    <a:pt x="298" y="149"/>
                    <a:pt x="298" y="149"/>
                    <a:pt x="298" y="149"/>
                  </a:cubicBezTo>
                  <a:cubicBezTo>
                    <a:pt x="298" y="126"/>
                    <a:pt x="280" y="107"/>
                    <a:pt x="258" y="107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39" y="107"/>
                    <a:pt x="21" y="126"/>
                    <a:pt x="21" y="149"/>
                  </a:cubicBezTo>
                  <a:cubicBezTo>
                    <a:pt x="21" y="180"/>
                    <a:pt x="21" y="180"/>
                    <a:pt x="21" y="180"/>
                  </a:cubicBezTo>
                  <a:cubicBezTo>
                    <a:pt x="23" y="183"/>
                    <a:pt x="43" y="203"/>
                    <a:pt x="165" y="203"/>
                  </a:cubicBezTo>
                  <a:close/>
                  <a:moveTo>
                    <a:pt x="288" y="212"/>
                  </a:moveTo>
                  <a:cubicBezTo>
                    <a:pt x="279" y="215"/>
                    <a:pt x="268" y="217"/>
                    <a:pt x="256" y="219"/>
                  </a:cubicBezTo>
                  <a:cubicBezTo>
                    <a:pt x="256" y="235"/>
                    <a:pt x="256" y="235"/>
                    <a:pt x="256" y="235"/>
                  </a:cubicBezTo>
                  <a:cubicBezTo>
                    <a:pt x="288" y="235"/>
                    <a:pt x="288" y="235"/>
                    <a:pt x="288" y="235"/>
                  </a:cubicBezTo>
                  <a:lnTo>
                    <a:pt x="288" y="212"/>
                  </a:lnTo>
                  <a:close/>
                  <a:moveTo>
                    <a:pt x="192" y="139"/>
                  </a:moveTo>
                  <a:cubicBezTo>
                    <a:pt x="128" y="139"/>
                    <a:pt x="128" y="139"/>
                    <a:pt x="128" y="139"/>
                  </a:cubicBezTo>
                  <a:cubicBezTo>
                    <a:pt x="122" y="139"/>
                    <a:pt x="117" y="143"/>
                    <a:pt x="117" y="149"/>
                  </a:cubicBezTo>
                  <a:cubicBezTo>
                    <a:pt x="117" y="155"/>
                    <a:pt x="122" y="160"/>
                    <a:pt x="128" y="160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8" y="160"/>
                    <a:pt x="202" y="155"/>
                    <a:pt x="202" y="149"/>
                  </a:cubicBezTo>
                  <a:cubicBezTo>
                    <a:pt x="202" y="143"/>
                    <a:pt x="198" y="139"/>
                    <a:pt x="192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7" name="Group 841">
            <a:extLst>
              <a:ext uri="{FF2B5EF4-FFF2-40B4-BE49-F238E27FC236}">
                <a16:creationId xmlns:a16="http://schemas.microsoft.com/office/drawing/2014/main" id="{CFEC395A-0D60-C1EE-D141-348885FA1C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1575" y="4594090"/>
            <a:ext cx="287984" cy="288000"/>
            <a:chOff x="4235" y="3197"/>
            <a:chExt cx="340" cy="340"/>
          </a:xfrm>
          <a:solidFill>
            <a:schemeClr val="tx2"/>
          </a:solidFill>
        </p:grpSpPr>
        <p:sp>
          <p:nvSpPr>
            <p:cNvPr id="28" name="Freeform 842">
              <a:extLst>
                <a:ext uri="{FF2B5EF4-FFF2-40B4-BE49-F238E27FC236}">
                  <a16:creationId xmlns:a16="http://schemas.microsoft.com/office/drawing/2014/main" id="{DCA8B146-0AA3-C50B-FC7A-BB6B5C1EAC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9" y="3261"/>
              <a:ext cx="212" cy="212"/>
            </a:xfrm>
            <a:custGeom>
              <a:avLst/>
              <a:gdLst>
                <a:gd name="T0" fmla="*/ 213 w 320"/>
                <a:gd name="T1" fmla="*/ 320 h 320"/>
                <a:gd name="T2" fmla="*/ 106 w 320"/>
                <a:gd name="T3" fmla="*/ 320 h 320"/>
                <a:gd name="T4" fmla="*/ 96 w 320"/>
                <a:gd name="T5" fmla="*/ 309 h 320"/>
                <a:gd name="T6" fmla="*/ 96 w 320"/>
                <a:gd name="T7" fmla="*/ 224 h 320"/>
                <a:gd name="T8" fmla="*/ 10 w 320"/>
                <a:gd name="T9" fmla="*/ 224 h 320"/>
                <a:gd name="T10" fmla="*/ 0 w 320"/>
                <a:gd name="T11" fmla="*/ 213 h 320"/>
                <a:gd name="T12" fmla="*/ 0 w 320"/>
                <a:gd name="T13" fmla="*/ 106 h 320"/>
                <a:gd name="T14" fmla="*/ 10 w 320"/>
                <a:gd name="T15" fmla="*/ 96 h 320"/>
                <a:gd name="T16" fmla="*/ 96 w 320"/>
                <a:gd name="T17" fmla="*/ 96 h 320"/>
                <a:gd name="T18" fmla="*/ 96 w 320"/>
                <a:gd name="T19" fmla="*/ 10 h 320"/>
                <a:gd name="T20" fmla="*/ 106 w 320"/>
                <a:gd name="T21" fmla="*/ 0 h 320"/>
                <a:gd name="T22" fmla="*/ 213 w 320"/>
                <a:gd name="T23" fmla="*/ 0 h 320"/>
                <a:gd name="T24" fmla="*/ 224 w 320"/>
                <a:gd name="T25" fmla="*/ 10 h 320"/>
                <a:gd name="T26" fmla="*/ 224 w 320"/>
                <a:gd name="T27" fmla="*/ 96 h 320"/>
                <a:gd name="T28" fmla="*/ 309 w 320"/>
                <a:gd name="T29" fmla="*/ 96 h 320"/>
                <a:gd name="T30" fmla="*/ 320 w 320"/>
                <a:gd name="T31" fmla="*/ 106 h 320"/>
                <a:gd name="T32" fmla="*/ 320 w 320"/>
                <a:gd name="T33" fmla="*/ 213 h 320"/>
                <a:gd name="T34" fmla="*/ 309 w 320"/>
                <a:gd name="T35" fmla="*/ 224 h 320"/>
                <a:gd name="T36" fmla="*/ 224 w 320"/>
                <a:gd name="T37" fmla="*/ 224 h 320"/>
                <a:gd name="T38" fmla="*/ 224 w 320"/>
                <a:gd name="T39" fmla="*/ 309 h 320"/>
                <a:gd name="T40" fmla="*/ 213 w 320"/>
                <a:gd name="T41" fmla="*/ 320 h 320"/>
                <a:gd name="T42" fmla="*/ 117 w 320"/>
                <a:gd name="T43" fmla="*/ 298 h 320"/>
                <a:gd name="T44" fmla="*/ 202 w 320"/>
                <a:gd name="T45" fmla="*/ 298 h 320"/>
                <a:gd name="T46" fmla="*/ 202 w 320"/>
                <a:gd name="T47" fmla="*/ 213 h 320"/>
                <a:gd name="T48" fmla="*/ 213 w 320"/>
                <a:gd name="T49" fmla="*/ 202 h 320"/>
                <a:gd name="T50" fmla="*/ 298 w 320"/>
                <a:gd name="T51" fmla="*/ 202 h 320"/>
                <a:gd name="T52" fmla="*/ 298 w 320"/>
                <a:gd name="T53" fmla="*/ 117 h 320"/>
                <a:gd name="T54" fmla="*/ 213 w 320"/>
                <a:gd name="T55" fmla="*/ 117 h 320"/>
                <a:gd name="T56" fmla="*/ 202 w 320"/>
                <a:gd name="T57" fmla="*/ 106 h 320"/>
                <a:gd name="T58" fmla="*/ 202 w 320"/>
                <a:gd name="T59" fmla="*/ 21 h 320"/>
                <a:gd name="T60" fmla="*/ 117 w 320"/>
                <a:gd name="T61" fmla="*/ 21 h 320"/>
                <a:gd name="T62" fmla="*/ 117 w 320"/>
                <a:gd name="T63" fmla="*/ 106 h 320"/>
                <a:gd name="T64" fmla="*/ 106 w 320"/>
                <a:gd name="T65" fmla="*/ 117 h 320"/>
                <a:gd name="T66" fmla="*/ 21 w 320"/>
                <a:gd name="T67" fmla="*/ 117 h 320"/>
                <a:gd name="T68" fmla="*/ 21 w 320"/>
                <a:gd name="T69" fmla="*/ 202 h 320"/>
                <a:gd name="T70" fmla="*/ 106 w 320"/>
                <a:gd name="T71" fmla="*/ 202 h 320"/>
                <a:gd name="T72" fmla="*/ 117 w 320"/>
                <a:gd name="T73" fmla="*/ 213 h 320"/>
                <a:gd name="T74" fmla="*/ 117 w 320"/>
                <a:gd name="T75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" h="320">
                  <a:moveTo>
                    <a:pt x="213" y="320"/>
                  </a:moveTo>
                  <a:cubicBezTo>
                    <a:pt x="106" y="320"/>
                    <a:pt x="106" y="320"/>
                    <a:pt x="106" y="320"/>
                  </a:cubicBezTo>
                  <a:cubicBezTo>
                    <a:pt x="100" y="320"/>
                    <a:pt x="96" y="315"/>
                    <a:pt x="96" y="309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10" y="224"/>
                    <a:pt x="10" y="224"/>
                    <a:pt x="10" y="224"/>
                  </a:cubicBezTo>
                  <a:cubicBezTo>
                    <a:pt x="4" y="224"/>
                    <a:pt x="0" y="219"/>
                    <a:pt x="0" y="213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0"/>
                    <a:pt x="4" y="96"/>
                    <a:pt x="1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100" y="0"/>
                    <a:pt x="106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9" y="0"/>
                    <a:pt x="224" y="4"/>
                    <a:pt x="224" y="10"/>
                  </a:cubicBezTo>
                  <a:cubicBezTo>
                    <a:pt x="224" y="96"/>
                    <a:pt x="224" y="96"/>
                    <a:pt x="224" y="96"/>
                  </a:cubicBezTo>
                  <a:cubicBezTo>
                    <a:pt x="309" y="96"/>
                    <a:pt x="309" y="96"/>
                    <a:pt x="309" y="96"/>
                  </a:cubicBezTo>
                  <a:cubicBezTo>
                    <a:pt x="315" y="96"/>
                    <a:pt x="320" y="100"/>
                    <a:pt x="320" y="106"/>
                  </a:cubicBezTo>
                  <a:cubicBezTo>
                    <a:pt x="320" y="213"/>
                    <a:pt x="320" y="213"/>
                    <a:pt x="320" y="213"/>
                  </a:cubicBezTo>
                  <a:cubicBezTo>
                    <a:pt x="320" y="219"/>
                    <a:pt x="315" y="224"/>
                    <a:pt x="309" y="224"/>
                  </a:cubicBezTo>
                  <a:cubicBezTo>
                    <a:pt x="224" y="224"/>
                    <a:pt x="224" y="224"/>
                    <a:pt x="224" y="224"/>
                  </a:cubicBezTo>
                  <a:cubicBezTo>
                    <a:pt x="224" y="309"/>
                    <a:pt x="224" y="309"/>
                    <a:pt x="224" y="309"/>
                  </a:cubicBezTo>
                  <a:cubicBezTo>
                    <a:pt x="224" y="315"/>
                    <a:pt x="219" y="320"/>
                    <a:pt x="213" y="320"/>
                  </a:cubicBezTo>
                  <a:close/>
                  <a:moveTo>
                    <a:pt x="117" y="298"/>
                  </a:moveTo>
                  <a:cubicBezTo>
                    <a:pt x="202" y="298"/>
                    <a:pt x="202" y="298"/>
                    <a:pt x="202" y="298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2" y="207"/>
                    <a:pt x="207" y="202"/>
                    <a:pt x="213" y="202"/>
                  </a:cubicBezTo>
                  <a:cubicBezTo>
                    <a:pt x="298" y="202"/>
                    <a:pt x="298" y="202"/>
                    <a:pt x="298" y="202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13" y="117"/>
                    <a:pt x="213" y="117"/>
                    <a:pt x="213" y="117"/>
                  </a:cubicBezTo>
                  <a:cubicBezTo>
                    <a:pt x="207" y="117"/>
                    <a:pt x="202" y="112"/>
                    <a:pt x="202" y="106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7" y="106"/>
                    <a:pt x="117" y="106"/>
                    <a:pt x="117" y="106"/>
                  </a:cubicBezTo>
                  <a:cubicBezTo>
                    <a:pt x="117" y="112"/>
                    <a:pt x="112" y="117"/>
                    <a:pt x="106" y="117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1" y="202"/>
                    <a:pt x="21" y="202"/>
                    <a:pt x="21" y="202"/>
                  </a:cubicBezTo>
                  <a:cubicBezTo>
                    <a:pt x="106" y="202"/>
                    <a:pt x="106" y="202"/>
                    <a:pt x="106" y="202"/>
                  </a:cubicBezTo>
                  <a:cubicBezTo>
                    <a:pt x="112" y="202"/>
                    <a:pt x="117" y="207"/>
                    <a:pt x="117" y="213"/>
                  </a:cubicBezTo>
                  <a:lnTo>
                    <a:pt x="117" y="2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Freeform 843">
              <a:extLst>
                <a:ext uri="{FF2B5EF4-FFF2-40B4-BE49-F238E27FC236}">
                  <a16:creationId xmlns:a16="http://schemas.microsoft.com/office/drawing/2014/main" id="{3EFA5DB6-DF28-2BB0-7833-D8B1D8433D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5" y="31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4AF7266-E1B0-C61D-84A5-D0EE373A41B9}"/>
              </a:ext>
            </a:extLst>
          </p:cNvPr>
          <p:cNvGrpSpPr>
            <a:grpSpLocks noChangeAspect="1"/>
          </p:cNvGrpSpPr>
          <p:nvPr/>
        </p:nvGrpSpPr>
        <p:grpSpPr>
          <a:xfrm>
            <a:off x="741575" y="4958995"/>
            <a:ext cx="287984" cy="288000"/>
            <a:chOff x="9652539" y="5279482"/>
            <a:chExt cx="431977" cy="432000"/>
          </a:xfrm>
        </p:grpSpPr>
        <p:sp>
          <p:nvSpPr>
            <p:cNvPr id="38" name="Freeform 506">
              <a:extLst>
                <a:ext uri="{FF2B5EF4-FFF2-40B4-BE49-F238E27FC236}">
                  <a16:creationId xmlns:a16="http://schemas.microsoft.com/office/drawing/2014/main" id="{8D0FFF79-D7A9-B393-9959-CC293746083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740718" y="5333482"/>
              <a:ext cx="255617" cy="324000"/>
            </a:xfrm>
            <a:custGeom>
              <a:avLst/>
              <a:gdLst>
                <a:gd name="T0" fmla="*/ 76 w 237"/>
                <a:gd name="T1" fmla="*/ 117 h 299"/>
                <a:gd name="T2" fmla="*/ 161 w 237"/>
                <a:gd name="T3" fmla="*/ 117 h 299"/>
                <a:gd name="T4" fmla="*/ 183 w 237"/>
                <a:gd name="T5" fmla="*/ 96 h 299"/>
                <a:gd name="T6" fmla="*/ 183 w 237"/>
                <a:gd name="T7" fmla="*/ 64 h 299"/>
                <a:gd name="T8" fmla="*/ 161 w 237"/>
                <a:gd name="T9" fmla="*/ 43 h 299"/>
                <a:gd name="T10" fmla="*/ 76 w 237"/>
                <a:gd name="T11" fmla="*/ 43 h 299"/>
                <a:gd name="T12" fmla="*/ 55 w 237"/>
                <a:gd name="T13" fmla="*/ 64 h 299"/>
                <a:gd name="T14" fmla="*/ 55 w 237"/>
                <a:gd name="T15" fmla="*/ 96 h 299"/>
                <a:gd name="T16" fmla="*/ 76 w 237"/>
                <a:gd name="T17" fmla="*/ 117 h 299"/>
                <a:gd name="T18" fmla="*/ 76 w 237"/>
                <a:gd name="T19" fmla="*/ 64 h 299"/>
                <a:gd name="T20" fmla="*/ 161 w 237"/>
                <a:gd name="T21" fmla="*/ 64 h 299"/>
                <a:gd name="T22" fmla="*/ 161 w 237"/>
                <a:gd name="T23" fmla="*/ 96 h 299"/>
                <a:gd name="T24" fmla="*/ 76 w 237"/>
                <a:gd name="T25" fmla="*/ 96 h 299"/>
                <a:gd name="T26" fmla="*/ 76 w 237"/>
                <a:gd name="T27" fmla="*/ 64 h 299"/>
                <a:gd name="T28" fmla="*/ 76 w 237"/>
                <a:gd name="T29" fmla="*/ 192 h 299"/>
                <a:gd name="T30" fmla="*/ 55 w 237"/>
                <a:gd name="T31" fmla="*/ 171 h 299"/>
                <a:gd name="T32" fmla="*/ 76 w 237"/>
                <a:gd name="T33" fmla="*/ 149 h 299"/>
                <a:gd name="T34" fmla="*/ 97 w 237"/>
                <a:gd name="T35" fmla="*/ 171 h 299"/>
                <a:gd name="T36" fmla="*/ 76 w 237"/>
                <a:gd name="T37" fmla="*/ 192 h 299"/>
                <a:gd name="T38" fmla="*/ 183 w 237"/>
                <a:gd name="T39" fmla="*/ 171 h 299"/>
                <a:gd name="T40" fmla="*/ 161 w 237"/>
                <a:gd name="T41" fmla="*/ 192 h 299"/>
                <a:gd name="T42" fmla="*/ 140 w 237"/>
                <a:gd name="T43" fmla="*/ 171 h 299"/>
                <a:gd name="T44" fmla="*/ 161 w 237"/>
                <a:gd name="T45" fmla="*/ 149 h 299"/>
                <a:gd name="T46" fmla="*/ 183 w 237"/>
                <a:gd name="T47" fmla="*/ 171 h 299"/>
                <a:gd name="T48" fmla="*/ 233 w 237"/>
                <a:gd name="T49" fmla="*/ 280 h 299"/>
                <a:gd name="T50" fmla="*/ 183 w 237"/>
                <a:gd name="T51" fmla="*/ 231 h 299"/>
                <a:gd name="T52" fmla="*/ 225 w 237"/>
                <a:gd name="T53" fmla="*/ 181 h 299"/>
                <a:gd name="T54" fmla="*/ 225 w 237"/>
                <a:gd name="T55" fmla="*/ 53 h 299"/>
                <a:gd name="T56" fmla="*/ 172 w 237"/>
                <a:gd name="T57" fmla="*/ 0 h 299"/>
                <a:gd name="T58" fmla="*/ 65 w 237"/>
                <a:gd name="T59" fmla="*/ 0 h 299"/>
                <a:gd name="T60" fmla="*/ 12 w 237"/>
                <a:gd name="T61" fmla="*/ 53 h 299"/>
                <a:gd name="T62" fmla="*/ 12 w 237"/>
                <a:gd name="T63" fmla="*/ 181 h 299"/>
                <a:gd name="T64" fmla="*/ 52 w 237"/>
                <a:gd name="T65" fmla="*/ 233 h 299"/>
                <a:gd name="T66" fmla="*/ 4 w 237"/>
                <a:gd name="T67" fmla="*/ 280 h 299"/>
                <a:gd name="T68" fmla="*/ 4 w 237"/>
                <a:gd name="T69" fmla="*/ 296 h 299"/>
                <a:gd name="T70" fmla="*/ 12 w 237"/>
                <a:gd name="T71" fmla="*/ 299 h 299"/>
                <a:gd name="T72" fmla="*/ 20 w 237"/>
                <a:gd name="T73" fmla="*/ 296 h 299"/>
                <a:gd name="T74" fmla="*/ 38 w 237"/>
                <a:gd name="T75" fmla="*/ 277 h 299"/>
                <a:gd name="T76" fmla="*/ 200 w 237"/>
                <a:gd name="T77" fmla="*/ 277 h 299"/>
                <a:gd name="T78" fmla="*/ 218 w 237"/>
                <a:gd name="T79" fmla="*/ 296 h 299"/>
                <a:gd name="T80" fmla="*/ 225 w 237"/>
                <a:gd name="T81" fmla="*/ 299 h 299"/>
                <a:gd name="T82" fmla="*/ 233 w 237"/>
                <a:gd name="T83" fmla="*/ 296 h 299"/>
                <a:gd name="T84" fmla="*/ 233 w 237"/>
                <a:gd name="T85" fmla="*/ 280 h 299"/>
                <a:gd name="T86" fmla="*/ 33 w 237"/>
                <a:gd name="T87" fmla="*/ 181 h 299"/>
                <a:gd name="T88" fmla="*/ 33 w 237"/>
                <a:gd name="T89" fmla="*/ 53 h 299"/>
                <a:gd name="T90" fmla="*/ 65 w 237"/>
                <a:gd name="T91" fmla="*/ 21 h 299"/>
                <a:gd name="T92" fmla="*/ 172 w 237"/>
                <a:gd name="T93" fmla="*/ 21 h 299"/>
                <a:gd name="T94" fmla="*/ 204 w 237"/>
                <a:gd name="T95" fmla="*/ 53 h 299"/>
                <a:gd name="T96" fmla="*/ 204 w 237"/>
                <a:gd name="T97" fmla="*/ 181 h 299"/>
                <a:gd name="T98" fmla="*/ 161 w 237"/>
                <a:gd name="T99" fmla="*/ 213 h 299"/>
                <a:gd name="T100" fmla="*/ 65 w 237"/>
                <a:gd name="T101" fmla="*/ 213 h 299"/>
                <a:gd name="T102" fmla="*/ 33 w 237"/>
                <a:gd name="T103" fmla="*/ 181 h 299"/>
                <a:gd name="T104" fmla="*/ 59 w 237"/>
                <a:gd name="T105" fmla="*/ 256 h 299"/>
                <a:gd name="T106" fmla="*/ 80 w 237"/>
                <a:gd name="T107" fmla="*/ 235 h 299"/>
                <a:gd name="T108" fmla="*/ 157 w 237"/>
                <a:gd name="T109" fmla="*/ 235 h 299"/>
                <a:gd name="T110" fmla="*/ 178 w 237"/>
                <a:gd name="T111" fmla="*/ 256 h 299"/>
                <a:gd name="T112" fmla="*/ 59 w 237"/>
                <a:gd name="T113" fmla="*/ 25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7" h="299">
                  <a:moveTo>
                    <a:pt x="76" y="117"/>
                  </a:moveTo>
                  <a:cubicBezTo>
                    <a:pt x="161" y="117"/>
                    <a:pt x="161" y="117"/>
                    <a:pt x="161" y="117"/>
                  </a:cubicBezTo>
                  <a:cubicBezTo>
                    <a:pt x="173" y="117"/>
                    <a:pt x="183" y="108"/>
                    <a:pt x="183" y="96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52"/>
                    <a:pt x="173" y="43"/>
                    <a:pt x="161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64" y="43"/>
                    <a:pt x="55" y="52"/>
                    <a:pt x="55" y="64"/>
                  </a:cubicBezTo>
                  <a:cubicBezTo>
                    <a:pt x="55" y="96"/>
                    <a:pt x="55" y="96"/>
                    <a:pt x="55" y="96"/>
                  </a:cubicBezTo>
                  <a:cubicBezTo>
                    <a:pt x="55" y="108"/>
                    <a:pt x="64" y="117"/>
                    <a:pt x="76" y="117"/>
                  </a:cubicBezTo>
                  <a:close/>
                  <a:moveTo>
                    <a:pt x="76" y="64"/>
                  </a:moveTo>
                  <a:cubicBezTo>
                    <a:pt x="161" y="64"/>
                    <a:pt x="161" y="64"/>
                    <a:pt x="161" y="64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76" y="96"/>
                    <a:pt x="76" y="96"/>
                    <a:pt x="76" y="96"/>
                  </a:cubicBezTo>
                  <a:lnTo>
                    <a:pt x="76" y="64"/>
                  </a:lnTo>
                  <a:close/>
                  <a:moveTo>
                    <a:pt x="76" y="192"/>
                  </a:moveTo>
                  <a:cubicBezTo>
                    <a:pt x="64" y="192"/>
                    <a:pt x="55" y="182"/>
                    <a:pt x="55" y="171"/>
                  </a:cubicBezTo>
                  <a:cubicBezTo>
                    <a:pt x="55" y="159"/>
                    <a:pt x="64" y="149"/>
                    <a:pt x="76" y="149"/>
                  </a:cubicBezTo>
                  <a:cubicBezTo>
                    <a:pt x="88" y="149"/>
                    <a:pt x="97" y="159"/>
                    <a:pt x="97" y="171"/>
                  </a:cubicBezTo>
                  <a:cubicBezTo>
                    <a:pt x="97" y="182"/>
                    <a:pt x="88" y="192"/>
                    <a:pt x="76" y="192"/>
                  </a:cubicBezTo>
                  <a:close/>
                  <a:moveTo>
                    <a:pt x="183" y="171"/>
                  </a:moveTo>
                  <a:cubicBezTo>
                    <a:pt x="183" y="182"/>
                    <a:pt x="173" y="192"/>
                    <a:pt x="161" y="192"/>
                  </a:cubicBezTo>
                  <a:cubicBezTo>
                    <a:pt x="150" y="192"/>
                    <a:pt x="140" y="182"/>
                    <a:pt x="140" y="171"/>
                  </a:cubicBezTo>
                  <a:cubicBezTo>
                    <a:pt x="140" y="159"/>
                    <a:pt x="150" y="149"/>
                    <a:pt x="161" y="149"/>
                  </a:cubicBezTo>
                  <a:cubicBezTo>
                    <a:pt x="173" y="149"/>
                    <a:pt x="183" y="159"/>
                    <a:pt x="183" y="171"/>
                  </a:cubicBezTo>
                  <a:close/>
                  <a:moveTo>
                    <a:pt x="233" y="280"/>
                  </a:moveTo>
                  <a:cubicBezTo>
                    <a:pt x="183" y="231"/>
                    <a:pt x="183" y="231"/>
                    <a:pt x="183" y="231"/>
                  </a:cubicBezTo>
                  <a:cubicBezTo>
                    <a:pt x="205" y="223"/>
                    <a:pt x="225" y="204"/>
                    <a:pt x="225" y="181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24"/>
                    <a:pt x="201" y="0"/>
                    <a:pt x="17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36" y="0"/>
                    <a:pt x="12" y="24"/>
                    <a:pt x="12" y="53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206"/>
                    <a:pt x="29" y="227"/>
                    <a:pt x="52" y="233"/>
                  </a:cubicBezTo>
                  <a:cubicBezTo>
                    <a:pt x="4" y="280"/>
                    <a:pt x="4" y="280"/>
                    <a:pt x="4" y="280"/>
                  </a:cubicBezTo>
                  <a:cubicBezTo>
                    <a:pt x="0" y="285"/>
                    <a:pt x="0" y="291"/>
                    <a:pt x="4" y="296"/>
                  </a:cubicBezTo>
                  <a:cubicBezTo>
                    <a:pt x="7" y="298"/>
                    <a:pt x="9" y="299"/>
                    <a:pt x="12" y="299"/>
                  </a:cubicBezTo>
                  <a:cubicBezTo>
                    <a:pt x="15" y="299"/>
                    <a:pt x="17" y="298"/>
                    <a:pt x="20" y="296"/>
                  </a:cubicBezTo>
                  <a:cubicBezTo>
                    <a:pt x="38" y="277"/>
                    <a:pt x="38" y="277"/>
                    <a:pt x="38" y="277"/>
                  </a:cubicBezTo>
                  <a:cubicBezTo>
                    <a:pt x="200" y="277"/>
                    <a:pt x="200" y="277"/>
                    <a:pt x="200" y="277"/>
                  </a:cubicBezTo>
                  <a:cubicBezTo>
                    <a:pt x="218" y="296"/>
                    <a:pt x="218" y="296"/>
                    <a:pt x="218" y="296"/>
                  </a:cubicBezTo>
                  <a:cubicBezTo>
                    <a:pt x="220" y="298"/>
                    <a:pt x="223" y="299"/>
                    <a:pt x="225" y="299"/>
                  </a:cubicBezTo>
                  <a:cubicBezTo>
                    <a:pt x="228" y="299"/>
                    <a:pt x="231" y="298"/>
                    <a:pt x="233" y="296"/>
                  </a:cubicBezTo>
                  <a:cubicBezTo>
                    <a:pt x="237" y="291"/>
                    <a:pt x="237" y="285"/>
                    <a:pt x="233" y="280"/>
                  </a:cubicBezTo>
                  <a:close/>
                  <a:moveTo>
                    <a:pt x="33" y="181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36"/>
                    <a:pt x="48" y="21"/>
                    <a:pt x="65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90" y="21"/>
                    <a:pt x="204" y="36"/>
                    <a:pt x="204" y="53"/>
                  </a:cubicBezTo>
                  <a:cubicBezTo>
                    <a:pt x="204" y="181"/>
                    <a:pt x="204" y="181"/>
                    <a:pt x="204" y="181"/>
                  </a:cubicBezTo>
                  <a:cubicBezTo>
                    <a:pt x="204" y="198"/>
                    <a:pt x="180" y="213"/>
                    <a:pt x="161" y="213"/>
                  </a:cubicBezTo>
                  <a:cubicBezTo>
                    <a:pt x="65" y="213"/>
                    <a:pt x="65" y="213"/>
                    <a:pt x="65" y="213"/>
                  </a:cubicBezTo>
                  <a:cubicBezTo>
                    <a:pt x="48" y="213"/>
                    <a:pt x="33" y="199"/>
                    <a:pt x="33" y="181"/>
                  </a:cubicBezTo>
                  <a:close/>
                  <a:moveTo>
                    <a:pt x="59" y="256"/>
                  </a:moveTo>
                  <a:cubicBezTo>
                    <a:pt x="80" y="235"/>
                    <a:pt x="80" y="235"/>
                    <a:pt x="80" y="235"/>
                  </a:cubicBezTo>
                  <a:cubicBezTo>
                    <a:pt x="157" y="235"/>
                    <a:pt x="157" y="235"/>
                    <a:pt x="157" y="235"/>
                  </a:cubicBezTo>
                  <a:cubicBezTo>
                    <a:pt x="178" y="256"/>
                    <a:pt x="178" y="256"/>
                    <a:pt x="178" y="256"/>
                  </a:cubicBezTo>
                  <a:lnTo>
                    <a:pt x="59" y="25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Freeform 843">
              <a:extLst>
                <a:ext uri="{FF2B5EF4-FFF2-40B4-BE49-F238E27FC236}">
                  <a16:creationId xmlns:a16="http://schemas.microsoft.com/office/drawing/2014/main" id="{84FB7150-9559-1FE1-6D77-67F46DF6B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539" y="5279482"/>
              <a:ext cx="431977" cy="432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1EBAF02-ED69-5795-954E-C8B5FA7B773B}"/>
              </a:ext>
            </a:extLst>
          </p:cNvPr>
          <p:cNvGrpSpPr>
            <a:grpSpLocks noChangeAspect="1"/>
          </p:cNvGrpSpPr>
          <p:nvPr/>
        </p:nvGrpSpPr>
        <p:grpSpPr>
          <a:xfrm>
            <a:off x="741575" y="4162940"/>
            <a:ext cx="287984" cy="288000"/>
            <a:chOff x="9909858" y="5277000"/>
            <a:chExt cx="431977" cy="432000"/>
          </a:xfrm>
        </p:grpSpPr>
        <p:sp>
          <p:nvSpPr>
            <p:cNvPr id="46" name="Freeform 539">
              <a:extLst>
                <a:ext uri="{FF2B5EF4-FFF2-40B4-BE49-F238E27FC236}">
                  <a16:creationId xmlns:a16="http://schemas.microsoft.com/office/drawing/2014/main" id="{FBF94900-C382-65DA-0237-C3459C580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5846" y="5349000"/>
              <a:ext cx="180000" cy="288000"/>
            </a:xfrm>
            <a:custGeom>
              <a:avLst/>
              <a:gdLst>
                <a:gd name="T0" fmla="*/ 107 w 149"/>
                <a:gd name="T1" fmla="*/ 320 h 320"/>
                <a:gd name="T2" fmla="*/ 43 w 149"/>
                <a:gd name="T3" fmla="*/ 320 h 320"/>
                <a:gd name="T4" fmla="*/ 0 w 149"/>
                <a:gd name="T5" fmla="*/ 277 h 320"/>
                <a:gd name="T6" fmla="*/ 0 w 149"/>
                <a:gd name="T7" fmla="*/ 42 h 320"/>
                <a:gd name="T8" fmla="*/ 43 w 149"/>
                <a:gd name="T9" fmla="*/ 0 h 320"/>
                <a:gd name="T10" fmla="*/ 107 w 149"/>
                <a:gd name="T11" fmla="*/ 0 h 320"/>
                <a:gd name="T12" fmla="*/ 149 w 149"/>
                <a:gd name="T13" fmla="*/ 42 h 320"/>
                <a:gd name="T14" fmla="*/ 149 w 149"/>
                <a:gd name="T15" fmla="*/ 277 h 320"/>
                <a:gd name="T16" fmla="*/ 107 w 149"/>
                <a:gd name="T17" fmla="*/ 320 h 320"/>
                <a:gd name="T18" fmla="*/ 43 w 149"/>
                <a:gd name="T19" fmla="*/ 21 h 320"/>
                <a:gd name="T20" fmla="*/ 21 w 149"/>
                <a:gd name="T21" fmla="*/ 42 h 320"/>
                <a:gd name="T22" fmla="*/ 21 w 149"/>
                <a:gd name="T23" fmla="*/ 277 h 320"/>
                <a:gd name="T24" fmla="*/ 43 w 149"/>
                <a:gd name="T25" fmla="*/ 298 h 320"/>
                <a:gd name="T26" fmla="*/ 107 w 149"/>
                <a:gd name="T27" fmla="*/ 298 h 320"/>
                <a:gd name="T28" fmla="*/ 128 w 149"/>
                <a:gd name="T29" fmla="*/ 277 h 320"/>
                <a:gd name="T30" fmla="*/ 128 w 149"/>
                <a:gd name="T31" fmla="*/ 42 h 320"/>
                <a:gd name="T32" fmla="*/ 107 w 149"/>
                <a:gd name="T33" fmla="*/ 21 h 320"/>
                <a:gd name="T34" fmla="*/ 43 w 149"/>
                <a:gd name="T35" fmla="*/ 21 h 320"/>
                <a:gd name="T36" fmla="*/ 75 w 149"/>
                <a:gd name="T37" fmla="*/ 106 h 320"/>
                <a:gd name="T38" fmla="*/ 43 w 149"/>
                <a:gd name="T39" fmla="*/ 74 h 320"/>
                <a:gd name="T40" fmla="*/ 75 w 149"/>
                <a:gd name="T41" fmla="*/ 42 h 320"/>
                <a:gd name="T42" fmla="*/ 107 w 149"/>
                <a:gd name="T43" fmla="*/ 74 h 320"/>
                <a:gd name="T44" fmla="*/ 75 w 149"/>
                <a:gd name="T45" fmla="*/ 106 h 320"/>
                <a:gd name="T46" fmla="*/ 75 w 149"/>
                <a:gd name="T47" fmla="*/ 64 h 320"/>
                <a:gd name="T48" fmla="*/ 64 w 149"/>
                <a:gd name="T49" fmla="*/ 74 h 320"/>
                <a:gd name="T50" fmla="*/ 75 w 149"/>
                <a:gd name="T51" fmla="*/ 85 h 320"/>
                <a:gd name="T52" fmla="*/ 85 w 149"/>
                <a:gd name="T53" fmla="*/ 74 h 320"/>
                <a:gd name="T54" fmla="*/ 75 w 149"/>
                <a:gd name="T55" fmla="*/ 64 h 320"/>
                <a:gd name="T56" fmla="*/ 75 w 149"/>
                <a:gd name="T57" fmla="*/ 192 h 320"/>
                <a:gd name="T58" fmla="*/ 43 w 149"/>
                <a:gd name="T59" fmla="*/ 160 h 320"/>
                <a:gd name="T60" fmla="*/ 75 w 149"/>
                <a:gd name="T61" fmla="*/ 128 h 320"/>
                <a:gd name="T62" fmla="*/ 107 w 149"/>
                <a:gd name="T63" fmla="*/ 160 h 320"/>
                <a:gd name="T64" fmla="*/ 75 w 149"/>
                <a:gd name="T65" fmla="*/ 192 h 320"/>
                <a:gd name="T66" fmla="*/ 75 w 149"/>
                <a:gd name="T67" fmla="*/ 149 h 320"/>
                <a:gd name="T68" fmla="*/ 64 w 149"/>
                <a:gd name="T69" fmla="*/ 160 h 320"/>
                <a:gd name="T70" fmla="*/ 75 w 149"/>
                <a:gd name="T71" fmla="*/ 170 h 320"/>
                <a:gd name="T72" fmla="*/ 85 w 149"/>
                <a:gd name="T73" fmla="*/ 160 h 320"/>
                <a:gd name="T74" fmla="*/ 75 w 149"/>
                <a:gd name="T75" fmla="*/ 149 h 320"/>
                <a:gd name="T76" fmla="*/ 75 w 149"/>
                <a:gd name="T77" fmla="*/ 277 h 320"/>
                <a:gd name="T78" fmla="*/ 43 w 149"/>
                <a:gd name="T79" fmla="*/ 245 h 320"/>
                <a:gd name="T80" fmla="*/ 75 w 149"/>
                <a:gd name="T81" fmla="*/ 213 h 320"/>
                <a:gd name="T82" fmla="*/ 107 w 149"/>
                <a:gd name="T83" fmla="*/ 245 h 320"/>
                <a:gd name="T84" fmla="*/ 75 w 149"/>
                <a:gd name="T85" fmla="*/ 277 h 320"/>
                <a:gd name="T86" fmla="*/ 75 w 149"/>
                <a:gd name="T87" fmla="*/ 234 h 320"/>
                <a:gd name="T88" fmla="*/ 64 w 149"/>
                <a:gd name="T89" fmla="*/ 245 h 320"/>
                <a:gd name="T90" fmla="*/ 75 w 149"/>
                <a:gd name="T91" fmla="*/ 256 h 320"/>
                <a:gd name="T92" fmla="*/ 85 w 149"/>
                <a:gd name="T93" fmla="*/ 245 h 320"/>
                <a:gd name="T94" fmla="*/ 75 w 149"/>
                <a:gd name="T95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9" h="320">
                  <a:moveTo>
                    <a:pt x="107" y="320"/>
                  </a:moveTo>
                  <a:cubicBezTo>
                    <a:pt x="43" y="320"/>
                    <a:pt x="43" y="320"/>
                    <a:pt x="43" y="320"/>
                  </a:cubicBezTo>
                  <a:cubicBezTo>
                    <a:pt x="19" y="320"/>
                    <a:pt x="0" y="301"/>
                    <a:pt x="0" y="27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30" y="0"/>
                    <a:pt x="149" y="19"/>
                    <a:pt x="149" y="42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301"/>
                    <a:pt x="130" y="320"/>
                    <a:pt x="107" y="320"/>
                  </a:cubicBezTo>
                  <a:close/>
                  <a:moveTo>
                    <a:pt x="43" y="21"/>
                  </a:moveTo>
                  <a:cubicBezTo>
                    <a:pt x="31" y="21"/>
                    <a:pt x="21" y="31"/>
                    <a:pt x="21" y="42"/>
                  </a:cubicBezTo>
                  <a:cubicBezTo>
                    <a:pt x="21" y="277"/>
                    <a:pt x="21" y="277"/>
                    <a:pt x="21" y="277"/>
                  </a:cubicBezTo>
                  <a:cubicBezTo>
                    <a:pt x="21" y="289"/>
                    <a:pt x="31" y="298"/>
                    <a:pt x="43" y="298"/>
                  </a:cubicBezTo>
                  <a:cubicBezTo>
                    <a:pt x="107" y="298"/>
                    <a:pt x="107" y="298"/>
                    <a:pt x="107" y="298"/>
                  </a:cubicBezTo>
                  <a:cubicBezTo>
                    <a:pt x="118" y="298"/>
                    <a:pt x="128" y="289"/>
                    <a:pt x="128" y="277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31"/>
                    <a:pt x="118" y="21"/>
                    <a:pt x="107" y="21"/>
                  </a:cubicBezTo>
                  <a:lnTo>
                    <a:pt x="43" y="21"/>
                  </a:lnTo>
                  <a:close/>
                  <a:moveTo>
                    <a:pt x="75" y="106"/>
                  </a:moveTo>
                  <a:cubicBezTo>
                    <a:pt x="57" y="106"/>
                    <a:pt x="43" y="92"/>
                    <a:pt x="43" y="74"/>
                  </a:cubicBezTo>
                  <a:cubicBezTo>
                    <a:pt x="43" y="57"/>
                    <a:pt x="57" y="42"/>
                    <a:pt x="75" y="42"/>
                  </a:cubicBezTo>
                  <a:cubicBezTo>
                    <a:pt x="92" y="42"/>
                    <a:pt x="107" y="57"/>
                    <a:pt x="107" y="74"/>
                  </a:cubicBezTo>
                  <a:cubicBezTo>
                    <a:pt x="107" y="92"/>
                    <a:pt x="92" y="106"/>
                    <a:pt x="75" y="106"/>
                  </a:cubicBezTo>
                  <a:close/>
                  <a:moveTo>
                    <a:pt x="75" y="64"/>
                  </a:moveTo>
                  <a:cubicBezTo>
                    <a:pt x="69" y="64"/>
                    <a:pt x="64" y="68"/>
                    <a:pt x="64" y="74"/>
                  </a:cubicBezTo>
                  <a:cubicBezTo>
                    <a:pt x="64" y="80"/>
                    <a:pt x="69" y="85"/>
                    <a:pt x="75" y="85"/>
                  </a:cubicBezTo>
                  <a:cubicBezTo>
                    <a:pt x="81" y="85"/>
                    <a:pt x="85" y="80"/>
                    <a:pt x="85" y="74"/>
                  </a:cubicBezTo>
                  <a:cubicBezTo>
                    <a:pt x="85" y="68"/>
                    <a:pt x="81" y="64"/>
                    <a:pt x="75" y="64"/>
                  </a:cubicBezTo>
                  <a:close/>
                  <a:moveTo>
                    <a:pt x="75" y="192"/>
                  </a:moveTo>
                  <a:cubicBezTo>
                    <a:pt x="57" y="192"/>
                    <a:pt x="43" y="177"/>
                    <a:pt x="43" y="160"/>
                  </a:cubicBezTo>
                  <a:cubicBezTo>
                    <a:pt x="43" y="142"/>
                    <a:pt x="57" y="128"/>
                    <a:pt x="75" y="128"/>
                  </a:cubicBezTo>
                  <a:cubicBezTo>
                    <a:pt x="92" y="128"/>
                    <a:pt x="107" y="142"/>
                    <a:pt x="107" y="160"/>
                  </a:cubicBezTo>
                  <a:cubicBezTo>
                    <a:pt x="107" y="177"/>
                    <a:pt x="92" y="192"/>
                    <a:pt x="75" y="192"/>
                  </a:cubicBezTo>
                  <a:close/>
                  <a:moveTo>
                    <a:pt x="75" y="149"/>
                  </a:moveTo>
                  <a:cubicBezTo>
                    <a:pt x="69" y="149"/>
                    <a:pt x="64" y="154"/>
                    <a:pt x="64" y="160"/>
                  </a:cubicBezTo>
                  <a:cubicBezTo>
                    <a:pt x="64" y="166"/>
                    <a:pt x="69" y="170"/>
                    <a:pt x="75" y="170"/>
                  </a:cubicBezTo>
                  <a:cubicBezTo>
                    <a:pt x="81" y="170"/>
                    <a:pt x="85" y="166"/>
                    <a:pt x="85" y="160"/>
                  </a:cubicBezTo>
                  <a:cubicBezTo>
                    <a:pt x="85" y="154"/>
                    <a:pt x="81" y="149"/>
                    <a:pt x="75" y="149"/>
                  </a:cubicBezTo>
                  <a:close/>
                  <a:moveTo>
                    <a:pt x="75" y="277"/>
                  </a:moveTo>
                  <a:cubicBezTo>
                    <a:pt x="57" y="277"/>
                    <a:pt x="43" y="263"/>
                    <a:pt x="43" y="245"/>
                  </a:cubicBezTo>
                  <a:cubicBezTo>
                    <a:pt x="43" y="227"/>
                    <a:pt x="57" y="213"/>
                    <a:pt x="75" y="213"/>
                  </a:cubicBezTo>
                  <a:cubicBezTo>
                    <a:pt x="92" y="213"/>
                    <a:pt x="107" y="227"/>
                    <a:pt x="107" y="245"/>
                  </a:cubicBezTo>
                  <a:cubicBezTo>
                    <a:pt x="107" y="263"/>
                    <a:pt x="92" y="277"/>
                    <a:pt x="75" y="277"/>
                  </a:cubicBezTo>
                  <a:close/>
                  <a:moveTo>
                    <a:pt x="75" y="234"/>
                  </a:moveTo>
                  <a:cubicBezTo>
                    <a:pt x="69" y="234"/>
                    <a:pt x="64" y="239"/>
                    <a:pt x="64" y="245"/>
                  </a:cubicBezTo>
                  <a:cubicBezTo>
                    <a:pt x="64" y="251"/>
                    <a:pt x="69" y="256"/>
                    <a:pt x="75" y="256"/>
                  </a:cubicBezTo>
                  <a:cubicBezTo>
                    <a:pt x="81" y="256"/>
                    <a:pt x="85" y="251"/>
                    <a:pt x="85" y="245"/>
                  </a:cubicBezTo>
                  <a:cubicBezTo>
                    <a:pt x="85" y="239"/>
                    <a:pt x="81" y="234"/>
                    <a:pt x="75" y="23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Freeform 843">
              <a:extLst>
                <a:ext uri="{FF2B5EF4-FFF2-40B4-BE49-F238E27FC236}">
                  <a16:creationId xmlns:a16="http://schemas.microsoft.com/office/drawing/2014/main" id="{C491F41A-C388-F71F-A509-556698C09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09858" y="5277000"/>
              <a:ext cx="431977" cy="432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36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359F6C8D-D627-F09F-2E93-1ACA13B5915C}"/>
              </a:ext>
            </a:extLst>
          </p:cNvPr>
          <p:cNvSpPr>
            <a:spLocks noChangeAspect="1"/>
          </p:cNvSpPr>
          <p:nvPr/>
        </p:nvSpPr>
        <p:spPr bwMode="gray">
          <a:xfrm>
            <a:off x="737609" y="5768640"/>
            <a:ext cx="288000" cy="288000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</a:p>
        </p:txBody>
      </p:sp>
    </p:spTree>
    <p:extLst>
      <p:ext uri="{BB962C8B-B14F-4D97-AF65-F5344CB8AC3E}">
        <p14:creationId xmlns:p14="http://schemas.microsoft.com/office/powerpoint/2010/main" val="349203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Rectangle 297">
            <a:extLst>
              <a:ext uri="{FF2B5EF4-FFF2-40B4-BE49-F238E27FC236}">
                <a16:creationId xmlns:a16="http://schemas.microsoft.com/office/drawing/2014/main" id="{2A8240DC-04DF-1CCC-7A33-1AA2EC0B6919}"/>
              </a:ext>
            </a:extLst>
          </p:cNvPr>
          <p:cNvSpPr/>
          <p:nvPr/>
        </p:nvSpPr>
        <p:spPr bwMode="auto">
          <a:xfrm>
            <a:off x="8060095" y="1782292"/>
            <a:ext cx="36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Zvyšování bezpečnosti dopravy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rostřednictvím informování a řízení dopravy</a:t>
            </a:r>
          </a:p>
        </p:txBody>
      </p:sp>
      <p:sp>
        <p:nvSpPr>
          <p:cNvPr id="335" name="Arc 334">
            <a:extLst>
              <a:ext uri="{FF2B5EF4-FFF2-40B4-BE49-F238E27FC236}">
                <a16:creationId xmlns:a16="http://schemas.microsoft.com/office/drawing/2014/main" id="{746BF7FD-56E1-FDEA-6F88-B3A6D2801ED7}"/>
              </a:ext>
            </a:extLst>
          </p:cNvPr>
          <p:cNvSpPr>
            <a:spLocks noChangeAspect="1"/>
          </p:cNvSpPr>
          <p:nvPr/>
        </p:nvSpPr>
        <p:spPr>
          <a:xfrm>
            <a:off x="4658144" y="2889485"/>
            <a:ext cx="2447368" cy="2228566"/>
          </a:xfrm>
          <a:prstGeom prst="arc">
            <a:avLst>
              <a:gd name="adj1" fmla="val 5340594"/>
              <a:gd name="adj2" fmla="val 1880836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337" name="Arc 336">
            <a:extLst>
              <a:ext uri="{FF2B5EF4-FFF2-40B4-BE49-F238E27FC236}">
                <a16:creationId xmlns:a16="http://schemas.microsoft.com/office/drawing/2014/main" id="{4A5E876B-D0DA-EEBF-02C6-FE15AA44F205}"/>
              </a:ext>
            </a:extLst>
          </p:cNvPr>
          <p:cNvSpPr>
            <a:spLocks noChangeAspect="1"/>
          </p:cNvSpPr>
          <p:nvPr/>
        </p:nvSpPr>
        <p:spPr>
          <a:xfrm rot="10507968">
            <a:off x="4368652" y="2655267"/>
            <a:ext cx="2905378" cy="2752615"/>
          </a:xfrm>
          <a:prstGeom prst="arc">
            <a:avLst>
              <a:gd name="adj1" fmla="val 4885703"/>
              <a:gd name="adj2" fmla="val 19646332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3EB4AB54-DDB1-6309-49CE-6FA2F9989254}"/>
              </a:ext>
            </a:extLst>
          </p:cNvPr>
          <p:cNvSpPr>
            <a:spLocks noChangeAspect="1"/>
          </p:cNvSpPr>
          <p:nvPr/>
        </p:nvSpPr>
        <p:spPr>
          <a:xfrm>
            <a:off x="5481849" y="2797353"/>
            <a:ext cx="360000" cy="36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185B895C-C563-0315-FC86-3F64544566C4}"/>
              </a:ext>
            </a:extLst>
          </p:cNvPr>
          <p:cNvSpPr>
            <a:spLocks noChangeAspect="1"/>
          </p:cNvSpPr>
          <p:nvPr/>
        </p:nvSpPr>
        <p:spPr>
          <a:xfrm>
            <a:off x="4529396" y="3706408"/>
            <a:ext cx="360000" cy="36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40B8433F-9C5C-C838-5199-0D5BD8836782}"/>
              </a:ext>
            </a:extLst>
          </p:cNvPr>
          <p:cNvSpPr>
            <a:spLocks noChangeAspect="1"/>
          </p:cNvSpPr>
          <p:nvPr/>
        </p:nvSpPr>
        <p:spPr>
          <a:xfrm>
            <a:off x="4731605" y="4482663"/>
            <a:ext cx="360000" cy="360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105BEC51-F725-940A-1668-DF373E460BE1}"/>
              </a:ext>
            </a:extLst>
          </p:cNvPr>
          <p:cNvSpPr>
            <a:spLocks noChangeAspect="1"/>
          </p:cNvSpPr>
          <p:nvPr/>
        </p:nvSpPr>
        <p:spPr>
          <a:xfrm>
            <a:off x="5978262" y="2482824"/>
            <a:ext cx="360000" cy="360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42" name="Oval 341">
            <a:extLst>
              <a:ext uri="{FF2B5EF4-FFF2-40B4-BE49-F238E27FC236}">
                <a16:creationId xmlns:a16="http://schemas.microsoft.com/office/drawing/2014/main" id="{39B26A62-2D31-7C9A-5214-D58B20BBE223}"/>
              </a:ext>
            </a:extLst>
          </p:cNvPr>
          <p:cNvSpPr>
            <a:spLocks noChangeAspect="1"/>
          </p:cNvSpPr>
          <p:nvPr/>
        </p:nvSpPr>
        <p:spPr>
          <a:xfrm>
            <a:off x="6713818" y="2759389"/>
            <a:ext cx="360000" cy="378386"/>
          </a:xfrm>
          <a:prstGeom prst="ellips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44" name="Oval 343">
            <a:extLst>
              <a:ext uri="{FF2B5EF4-FFF2-40B4-BE49-F238E27FC236}">
                <a16:creationId xmlns:a16="http://schemas.microsoft.com/office/drawing/2014/main" id="{CBA15FBF-241F-AA8E-7808-06B20A92592D}"/>
              </a:ext>
            </a:extLst>
          </p:cNvPr>
          <p:cNvSpPr>
            <a:spLocks noChangeAspect="1"/>
          </p:cNvSpPr>
          <p:nvPr/>
        </p:nvSpPr>
        <p:spPr>
          <a:xfrm>
            <a:off x="5481765" y="4877517"/>
            <a:ext cx="360000" cy="36000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45" name="Oval 344">
            <a:extLst>
              <a:ext uri="{FF2B5EF4-FFF2-40B4-BE49-F238E27FC236}">
                <a16:creationId xmlns:a16="http://schemas.microsoft.com/office/drawing/2014/main" id="{03AD3899-3669-007D-B1C7-45C2EF1FB7BD}"/>
              </a:ext>
            </a:extLst>
          </p:cNvPr>
          <p:cNvSpPr>
            <a:spLocks noChangeAspect="1"/>
          </p:cNvSpPr>
          <p:nvPr/>
        </p:nvSpPr>
        <p:spPr>
          <a:xfrm>
            <a:off x="7149413" y="4299343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346" name="Connecteur droit 2">
            <a:extLst>
              <a:ext uri="{FF2B5EF4-FFF2-40B4-BE49-F238E27FC236}">
                <a16:creationId xmlns:a16="http://schemas.microsoft.com/office/drawing/2014/main" id="{5EDD2DA4-8159-BE80-B758-C46B53C5AB37}"/>
              </a:ext>
            </a:extLst>
          </p:cNvPr>
          <p:cNvCxnSpPr>
            <a:cxnSpLocks/>
            <a:stCxn id="341" idx="7"/>
            <a:endCxn id="46" idx="2"/>
          </p:cNvCxnSpPr>
          <p:nvPr>
            <p:custDataLst>
              <p:tags r:id="rId1"/>
            </p:custDataLst>
          </p:nvPr>
        </p:nvCxnSpPr>
        <p:spPr>
          <a:xfrm flipV="1">
            <a:off x="6285541" y="1916273"/>
            <a:ext cx="1625130" cy="61927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tangle 355">
            <a:extLst>
              <a:ext uri="{FF2B5EF4-FFF2-40B4-BE49-F238E27FC236}">
                <a16:creationId xmlns:a16="http://schemas.microsoft.com/office/drawing/2014/main" id="{719B412A-8997-929F-38BA-5628BDD108C9}"/>
              </a:ext>
            </a:extLst>
          </p:cNvPr>
          <p:cNvSpPr/>
          <p:nvPr/>
        </p:nvSpPr>
        <p:spPr bwMode="auto">
          <a:xfrm>
            <a:off x="496016" y="1646273"/>
            <a:ext cx="37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>
              <a:defRPr/>
            </a:pPr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Interoperabilita (města, silnice, železnice)</a:t>
            </a:r>
          </a:p>
          <a:p>
            <a:pPr marL="285750" indent="-285750" fontAlgn="base">
              <a:buFontTx/>
              <a:buChar char="-"/>
              <a:defRPr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Mezinárodně interoperabilní a standardizovaná technologie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6C5F8056-1808-7BB2-1DF6-95F8BF1D6B91}"/>
              </a:ext>
            </a:extLst>
          </p:cNvPr>
          <p:cNvSpPr/>
          <p:nvPr/>
        </p:nvSpPr>
        <p:spPr bwMode="auto">
          <a:xfrm>
            <a:off x="496016" y="3602727"/>
            <a:ext cx="37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Optimalizace dojezdových časů IZS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reference IZS na křižovatkách, včasné vytváření uliček pro IZS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BD397F5B-4611-D6F8-A6E5-830AA4EA4AB4}"/>
              </a:ext>
            </a:extLst>
          </p:cNvPr>
          <p:cNvSpPr/>
          <p:nvPr/>
        </p:nvSpPr>
        <p:spPr bwMode="auto">
          <a:xfrm>
            <a:off x="496016" y="5559179"/>
            <a:ext cx="37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ublikace dat a informací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Možné poskytování otevřených dat</a:t>
            </a:r>
          </a:p>
        </p:txBody>
      </p:sp>
      <p:sp>
        <p:nvSpPr>
          <p:cNvPr id="362" name="Oval 361">
            <a:extLst>
              <a:ext uri="{FF2B5EF4-FFF2-40B4-BE49-F238E27FC236}">
                <a16:creationId xmlns:a16="http://schemas.microsoft.com/office/drawing/2014/main" id="{E694E8CE-AD28-853A-359E-1CA4181CBC4D}"/>
              </a:ext>
            </a:extLst>
          </p:cNvPr>
          <p:cNvSpPr>
            <a:spLocks noChangeAspect="1"/>
          </p:cNvSpPr>
          <p:nvPr/>
        </p:nvSpPr>
        <p:spPr>
          <a:xfrm>
            <a:off x="345512" y="1657446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1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cxnSp>
        <p:nvCxnSpPr>
          <p:cNvPr id="363" name="Connecteur droit 2">
            <a:extLst>
              <a:ext uri="{FF2B5EF4-FFF2-40B4-BE49-F238E27FC236}">
                <a16:creationId xmlns:a16="http://schemas.microsoft.com/office/drawing/2014/main" id="{9C8AE755-31BE-E5C4-A963-2071D0723416}"/>
              </a:ext>
            </a:extLst>
          </p:cNvPr>
          <p:cNvCxnSpPr>
            <a:cxnSpLocks/>
            <a:stCxn id="338" idx="1"/>
            <a:endCxn id="356" idx="3"/>
          </p:cNvCxnSpPr>
          <p:nvPr>
            <p:custDataLst>
              <p:tags r:id="rId2"/>
            </p:custDataLst>
          </p:nvPr>
        </p:nvCxnSpPr>
        <p:spPr>
          <a:xfrm flipH="1" flipV="1">
            <a:off x="4276016" y="2006273"/>
            <a:ext cx="1258554" cy="84380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Connecteur droit 2">
            <a:extLst>
              <a:ext uri="{FF2B5EF4-FFF2-40B4-BE49-F238E27FC236}">
                <a16:creationId xmlns:a16="http://schemas.microsoft.com/office/drawing/2014/main" id="{73205CE0-F4FC-C551-DA56-DB07F8842A61}"/>
              </a:ext>
            </a:extLst>
          </p:cNvPr>
          <p:cNvCxnSpPr>
            <a:cxnSpLocks/>
            <a:stCxn id="340" idx="2"/>
            <a:endCxn id="37" idx="3"/>
          </p:cNvCxnSpPr>
          <p:nvPr>
            <p:custDataLst>
              <p:tags r:id="rId3"/>
            </p:custDataLst>
          </p:nvPr>
        </p:nvCxnSpPr>
        <p:spPr>
          <a:xfrm flipH="1">
            <a:off x="4281183" y="4662663"/>
            <a:ext cx="450422" cy="25191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Connecteur droit 2">
            <a:extLst>
              <a:ext uri="{FF2B5EF4-FFF2-40B4-BE49-F238E27FC236}">
                <a16:creationId xmlns:a16="http://schemas.microsoft.com/office/drawing/2014/main" id="{7F62C815-60B6-70E2-93D1-6FAD96078FBF}"/>
              </a:ext>
            </a:extLst>
          </p:cNvPr>
          <p:cNvCxnSpPr>
            <a:cxnSpLocks/>
            <a:stCxn id="344" idx="2"/>
            <a:endCxn id="359" idx="3"/>
          </p:cNvCxnSpPr>
          <p:nvPr>
            <p:custDataLst>
              <p:tags r:id="rId4"/>
            </p:custDataLst>
          </p:nvPr>
        </p:nvCxnSpPr>
        <p:spPr>
          <a:xfrm flipH="1">
            <a:off x="4276016" y="5057517"/>
            <a:ext cx="1205749" cy="86166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Oval 377">
            <a:extLst>
              <a:ext uri="{FF2B5EF4-FFF2-40B4-BE49-F238E27FC236}">
                <a16:creationId xmlns:a16="http://schemas.microsoft.com/office/drawing/2014/main" id="{2280D8D0-7E26-337E-D6ED-6A5D2A3E52B6}"/>
              </a:ext>
            </a:extLst>
          </p:cNvPr>
          <p:cNvSpPr/>
          <p:nvPr/>
        </p:nvSpPr>
        <p:spPr bwMode="gray">
          <a:xfrm>
            <a:off x="4836755" y="3156164"/>
            <a:ext cx="2268000" cy="1750819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2000" b="1" dirty="0">
                <a:solidFill>
                  <a:schemeClr val="bg1"/>
                </a:solidFill>
              </a:rPr>
              <a:t>C-ITS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chemeClr val="bg1"/>
                </a:solidFill>
              </a:rPr>
              <a:t>přináší benefity…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5C0669A-BCB8-D9E9-AC7C-00381749E9DA}"/>
              </a:ext>
            </a:extLst>
          </p:cNvPr>
          <p:cNvSpPr>
            <a:spLocks noChangeAspect="1"/>
          </p:cNvSpPr>
          <p:nvPr/>
        </p:nvSpPr>
        <p:spPr>
          <a:xfrm>
            <a:off x="357061" y="3608312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3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68E43E7-5690-FC0F-B058-BC125145C7B1}"/>
              </a:ext>
            </a:extLst>
          </p:cNvPr>
          <p:cNvSpPr>
            <a:spLocks noChangeAspect="1"/>
          </p:cNvSpPr>
          <p:nvPr/>
        </p:nvSpPr>
        <p:spPr>
          <a:xfrm>
            <a:off x="357061" y="5559178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5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FE8A039-4CA7-D9AF-E4CE-5B6DDAA07EA1}"/>
              </a:ext>
            </a:extLst>
          </p:cNvPr>
          <p:cNvSpPr/>
          <p:nvPr/>
        </p:nvSpPr>
        <p:spPr bwMode="auto">
          <a:xfrm>
            <a:off x="501183" y="4464579"/>
            <a:ext cx="378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Benefity pro MHD a VHD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okročilá preference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Zkapacitnění linek, optimalizace cestovní dob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6D80C39-3F5F-2BD6-1098-32C9CC008F30}"/>
              </a:ext>
            </a:extLst>
          </p:cNvPr>
          <p:cNvSpPr>
            <a:spLocks noChangeAspect="1"/>
          </p:cNvSpPr>
          <p:nvPr/>
        </p:nvSpPr>
        <p:spPr>
          <a:xfrm>
            <a:off x="358073" y="4467370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4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39FFC5B-9B80-5444-3F2E-F8C6EA4F3BF4}"/>
              </a:ext>
            </a:extLst>
          </p:cNvPr>
          <p:cNvSpPr/>
          <p:nvPr/>
        </p:nvSpPr>
        <p:spPr bwMode="auto">
          <a:xfrm>
            <a:off x="8080419" y="2731014"/>
            <a:ext cx="36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Řada služeb v jednom zařízení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D3B8064-FFD5-88DB-71E7-46E41E803091}"/>
              </a:ext>
            </a:extLst>
          </p:cNvPr>
          <p:cNvSpPr/>
          <p:nvPr/>
        </p:nvSpPr>
        <p:spPr bwMode="auto">
          <a:xfrm>
            <a:off x="8062442" y="3679736"/>
            <a:ext cx="36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Životní prostředí a spotřeba energií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Snížení počtu zastavení a rozjezdů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0148170-383A-EA28-4267-7F20F7447070}"/>
              </a:ext>
            </a:extLst>
          </p:cNvPr>
          <p:cNvSpPr/>
          <p:nvPr/>
        </p:nvSpPr>
        <p:spPr bwMode="auto">
          <a:xfrm>
            <a:off x="8077966" y="4628458"/>
            <a:ext cx="36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oskytování služeb řidičům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18429B20-84B5-2CFB-CF3C-A418D8EA541E}"/>
              </a:ext>
            </a:extLst>
          </p:cNvPr>
          <p:cNvSpPr>
            <a:spLocks noChangeAspect="1"/>
          </p:cNvSpPr>
          <p:nvPr/>
        </p:nvSpPr>
        <p:spPr>
          <a:xfrm>
            <a:off x="7910671" y="1772273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6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02B476C4-F7FB-8257-050C-45DB6F4276F5}"/>
              </a:ext>
            </a:extLst>
          </p:cNvPr>
          <p:cNvSpPr>
            <a:spLocks noChangeAspect="1"/>
          </p:cNvSpPr>
          <p:nvPr/>
        </p:nvSpPr>
        <p:spPr>
          <a:xfrm>
            <a:off x="7924924" y="2720859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7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6421007-1707-CF29-0648-C2E4BB5380C7}"/>
              </a:ext>
            </a:extLst>
          </p:cNvPr>
          <p:cNvSpPr>
            <a:spLocks noChangeAspect="1"/>
          </p:cNvSpPr>
          <p:nvPr/>
        </p:nvSpPr>
        <p:spPr>
          <a:xfrm>
            <a:off x="7940448" y="4618031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9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7081FFF-17DE-8089-2004-F2DEE9F913AA}"/>
              </a:ext>
            </a:extLst>
          </p:cNvPr>
          <p:cNvSpPr>
            <a:spLocks noChangeAspect="1"/>
          </p:cNvSpPr>
          <p:nvPr/>
        </p:nvSpPr>
        <p:spPr>
          <a:xfrm>
            <a:off x="7924924" y="3669445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8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cxnSp>
        <p:nvCxnSpPr>
          <p:cNvPr id="65" name="Connecteur droit 2">
            <a:extLst>
              <a:ext uri="{FF2B5EF4-FFF2-40B4-BE49-F238E27FC236}">
                <a16:creationId xmlns:a16="http://schemas.microsoft.com/office/drawing/2014/main" id="{1DB7BDE5-C71F-4DF1-75F2-307AC4836172}"/>
              </a:ext>
            </a:extLst>
          </p:cNvPr>
          <p:cNvCxnSpPr>
            <a:cxnSpLocks/>
            <a:stCxn id="47" idx="3"/>
            <a:endCxn id="342" idx="7"/>
          </p:cNvCxnSpPr>
          <p:nvPr>
            <p:custDataLst>
              <p:tags r:id="rId5"/>
            </p:custDataLst>
          </p:nvPr>
        </p:nvCxnSpPr>
        <p:spPr>
          <a:xfrm flipH="1" flipV="1">
            <a:off x="7021097" y="2814802"/>
            <a:ext cx="946004" cy="15188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2">
            <a:extLst>
              <a:ext uri="{FF2B5EF4-FFF2-40B4-BE49-F238E27FC236}">
                <a16:creationId xmlns:a16="http://schemas.microsoft.com/office/drawing/2014/main" id="{6DCDE8B9-0E1F-0729-03B2-821FD8F32B3E}"/>
              </a:ext>
            </a:extLst>
          </p:cNvPr>
          <p:cNvCxnSpPr>
            <a:cxnSpLocks/>
            <a:stCxn id="49" idx="2"/>
            <a:endCxn id="343" idx="6"/>
          </p:cNvCxnSpPr>
          <p:nvPr>
            <p:custDataLst>
              <p:tags r:id="rId6"/>
            </p:custDataLst>
          </p:nvPr>
        </p:nvCxnSpPr>
        <p:spPr>
          <a:xfrm flipH="1" flipV="1">
            <a:off x="7455040" y="3570908"/>
            <a:ext cx="469884" cy="24253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 droit 2">
            <a:extLst>
              <a:ext uri="{FF2B5EF4-FFF2-40B4-BE49-F238E27FC236}">
                <a16:creationId xmlns:a16="http://schemas.microsoft.com/office/drawing/2014/main" id="{D302E7E9-676F-DA76-B8DA-7659A64D8B99}"/>
              </a:ext>
            </a:extLst>
          </p:cNvPr>
          <p:cNvCxnSpPr>
            <a:cxnSpLocks/>
            <a:stCxn id="48" idx="2"/>
            <a:endCxn id="345" idx="6"/>
          </p:cNvCxnSpPr>
          <p:nvPr>
            <p:custDataLst>
              <p:tags r:id="rId7"/>
            </p:custDataLst>
          </p:nvPr>
        </p:nvCxnSpPr>
        <p:spPr>
          <a:xfrm flipH="1" flipV="1">
            <a:off x="7509413" y="4479343"/>
            <a:ext cx="431035" cy="2826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036252C1-A7C2-F030-9794-FF13A5324DDA}"/>
              </a:ext>
            </a:extLst>
          </p:cNvPr>
          <p:cNvSpPr/>
          <p:nvPr/>
        </p:nvSpPr>
        <p:spPr bwMode="auto">
          <a:xfrm>
            <a:off x="496016" y="2624500"/>
            <a:ext cx="37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rostředek pro ovlivňování dopravy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C-ITS zdrojem dat pro řízení doprav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E78CFEE-1E8D-AB6E-C675-1B2F5D3FCB47}"/>
              </a:ext>
            </a:extLst>
          </p:cNvPr>
          <p:cNvSpPr>
            <a:spLocks noChangeAspect="1"/>
          </p:cNvSpPr>
          <p:nvPr/>
        </p:nvSpPr>
        <p:spPr>
          <a:xfrm>
            <a:off x="345512" y="2632879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600" kern="0" dirty="0">
                <a:solidFill>
                  <a:schemeClr val="bg1"/>
                </a:solidFill>
              </a:rPr>
              <a:t>2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42037E1-102C-CDE1-B976-A45560358EBC}"/>
              </a:ext>
            </a:extLst>
          </p:cNvPr>
          <p:cNvSpPr>
            <a:spLocks noChangeAspect="1"/>
          </p:cNvSpPr>
          <p:nvPr/>
        </p:nvSpPr>
        <p:spPr>
          <a:xfrm>
            <a:off x="4825237" y="3051984"/>
            <a:ext cx="360000" cy="36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18" name="Connecteur droit 2">
            <a:extLst>
              <a:ext uri="{FF2B5EF4-FFF2-40B4-BE49-F238E27FC236}">
                <a16:creationId xmlns:a16="http://schemas.microsoft.com/office/drawing/2014/main" id="{9B2A9A0A-77FE-B8E5-AF72-8916AD17EED5}"/>
              </a:ext>
            </a:extLst>
          </p:cNvPr>
          <p:cNvCxnSpPr>
            <a:cxnSpLocks/>
            <a:stCxn id="17" idx="2"/>
            <a:endCxn id="6" idx="3"/>
          </p:cNvCxnSpPr>
          <p:nvPr>
            <p:custDataLst>
              <p:tags r:id="rId8"/>
            </p:custDataLst>
          </p:nvPr>
        </p:nvCxnSpPr>
        <p:spPr>
          <a:xfrm flipH="1" flipV="1">
            <a:off x="4276016" y="2984500"/>
            <a:ext cx="549221" cy="247484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">
            <a:extLst>
              <a:ext uri="{FF2B5EF4-FFF2-40B4-BE49-F238E27FC236}">
                <a16:creationId xmlns:a16="http://schemas.microsoft.com/office/drawing/2014/main" id="{796F1579-37E4-9EDB-92A7-36E773F63B00}"/>
              </a:ext>
            </a:extLst>
          </p:cNvPr>
          <p:cNvCxnSpPr>
            <a:cxnSpLocks/>
            <a:stCxn id="339" idx="3"/>
            <a:endCxn id="357" idx="3"/>
          </p:cNvCxnSpPr>
          <p:nvPr>
            <p:custDataLst>
              <p:tags r:id="rId9"/>
            </p:custDataLst>
          </p:nvPr>
        </p:nvCxnSpPr>
        <p:spPr>
          <a:xfrm flipH="1" flipV="1">
            <a:off x="4276016" y="3962727"/>
            <a:ext cx="306101" cy="5096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Oval 342">
            <a:extLst>
              <a:ext uri="{FF2B5EF4-FFF2-40B4-BE49-F238E27FC236}">
                <a16:creationId xmlns:a16="http://schemas.microsoft.com/office/drawing/2014/main" id="{F1C2B334-84A1-DDA0-9529-61482550FA7B}"/>
              </a:ext>
            </a:extLst>
          </p:cNvPr>
          <p:cNvSpPr>
            <a:spLocks noChangeAspect="1"/>
          </p:cNvSpPr>
          <p:nvPr/>
        </p:nvSpPr>
        <p:spPr>
          <a:xfrm>
            <a:off x="7095040" y="3390908"/>
            <a:ext cx="360000" cy="360000"/>
          </a:xfrm>
          <a:prstGeom prst="ellipse">
            <a:avLst/>
          </a:prstGeom>
          <a:solidFill>
            <a:srgbClr val="009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A9BDF64-8985-FF61-C4DD-2FB05B15FEB5}"/>
              </a:ext>
            </a:extLst>
          </p:cNvPr>
          <p:cNvSpPr/>
          <p:nvPr/>
        </p:nvSpPr>
        <p:spPr bwMode="auto">
          <a:xfrm>
            <a:off x="8106914" y="5577178"/>
            <a:ext cx="36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pPr fontAlgn="base"/>
            <a:r>
              <a:rPr lang="cs-CZ" sz="1600" b="1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Inovace</a:t>
            </a:r>
          </a:p>
          <a:p>
            <a:pPr marL="285750" indent="-285750" fontAlgn="base">
              <a:buFontTx/>
              <a:buChar char="-"/>
            </a:pPr>
            <a:r>
              <a:rPr lang="cs-CZ" sz="1600" kern="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C-ITS základem pro rozvoj autonomní mobility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D901534F-3B0A-6B4B-6D64-D730535D803A}"/>
              </a:ext>
            </a:extLst>
          </p:cNvPr>
          <p:cNvSpPr>
            <a:spLocks noChangeAspect="1"/>
          </p:cNvSpPr>
          <p:nvPr/>
        </p:nvSpPr>
        <p:spPr>
          <a:xfrm>
            <a:off x="7967101" y="5559178"/>
            <a:ext cx="288000" cy="288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cs-CZ" sz="1400" kern="0" dirty="0">
                <a:solidFill>
                  <a:schemeClr val="bg1"/>
                </a:solidFill>
              </a:rPr>
              <a:t>10</a:t>
            </a:r>
            <a:endParaRPr lang="en-US" sz="2400" kern="0" dirty="0">
              <a:solidFill>
                <a:schemeClr val="bg1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74EE39F-CC9C-49B9-A5FC-DD36BEC83958}"/>
              </a:ext>
            </a:extLst>
          </p:cNvPr>
          <p:cNvSpPr>
            <a:spLocks noChangeAspect="1"/>
          </p:cNvSpPr>
          <p:nvPr/>
        </p:nvSpPr>
        <p:spPr>
          <a:xfrm>
            <a:off x="6500190" y="4984933"/>
            <a:ext cx="360000" cy="36000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84" name="Connecteur droit 2">
            <a:extLst>
              <a:ext uri="{FF2B5EF4-FFF2-40B4-BE49-F238E27FC236}">
                <a16:creationId xmlns:a16="http://schemas.microsoft.com/office/drawing/2014/main" id="{02E65227-24B3-44A6-A962-F0605C61EEA2}"/>
              </a:ext>
            </a:extLst>
          </p:cNvPr>
          <p:cNvCxnSpPr>
            <a:cxnSpLocks/>
            <a:stCxn id="67" idx="2"/>
            <a:endCxn id="81" idx="6"/>
          </p:cNvCxnSpPr>
          <p:nvPr>
            <p:custDataLst>
              <p:tags r:id="rId10"/>
            </p:custDataLst>
          </p:nvPr>
        </p:nvCxnSpPr>
        <p:spPr>
          <a:xfrm flipH="1" flipV="1">
            <a:off x="6860190" y="5164933"/>
            <a:ext cx="1106911" cy="53824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3">
            <a:extLst>
              <a:ext uri="{FF2B5EF4-FFF2-40B4-BE49-F238E27FC236}">
                <a16:creationId xmlns:a16="http://schemas.microsoft.com/office/drawing/2014/main" id="{A2D5F041-A389-B38F-5863-4DAD07592556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Proč budovat C-ITS?</a:t>
            </a:r>
          </a:p>
        </p:txBody>
      </p:sp>
      <p:sp>
        <p:nvSpPr>
          <p:cNvPr id="44" name="Content Placeholder 23">
            <a:extLst>
              <a:ext uri="{FF2B5EF4-FFF2-40B4-BE49-F238E27FC236}">
                <a16:creationId xmlns:a16="http://schemas.microsoft.com/office/drawing/2014/main" id="{6620BB84-0E18-6430-CA71-128FC82261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015" y="977290"/>
            <a:ext cx="11164079" cy="57682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600" b="1" dirty="0"/>
              <a:t>C-ITS přináší vzájemně nezávislé benefity pro různé zájmové skupiny </a:t>
            </a:r>
            <a:r>
              <a:rPr lang="cs-CZ" sz="1600" dirty="0"/>
              <a:t>(města a správce dopravní infrastruktury, IZS, správce dopravní infrastruktury, městské organizace, dopravní podniky, řidiče, poskytovatele nadstavbových služeb,..). </a:t>
            </a:r>
          </a:p>
        </p:txBody>
      </p:sp>
    </p:spTree>
    <p:extLst>
      <p:ext uri="{BB962C8B-B14F-4D97-AF65-F5344CB8AC3E}">
        <p14:creationId xmlns:p14="http://schemas.microsoft.com/office/powerpoint/2010/main" val="39828460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0E4FBAD0-C377-F9E0-CF9A-A0ECA22F0D2D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Architektura C-ITS systému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141FC49-3FF8-90B6-395E-2EE4E8F5254E}"/>
              </a:ext>
            </a:extLst>
          </p:cNvPr>
          <p:cNvSpPr/>
          <p:nvPr/>
        </p:nvSpPr>
        <p:spPr>
          <a:xfrm>
            <a:off x="602374" y="1288047"/>
            <a:ext cx="11304000" cy="1620000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cs typeface="Calibri" panose="020F050202020403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73C49A-F9FB-8F1D-C3C0-543D532848AC}"/>
              </a:ext>
            </a:extLst>
          </p:cNvPr>
          <p:cNvGrpSpPr>
            <a:grpSpLocks noChangeAspect="1"/>
          </p:cNvGrpSpPr>
          <p:nvPr/>
        </p:nvGrpSpPr>
        <p:grpSpPr>
          <a:xfrm>
            <a:off x="5074250" y="1910722"/>
            <a:ext cx="615685" cy="504000"/>
            <a:chOff x="5061952" y="1170650"/>
            <a:chExt cx="670001" cy="545403"/>
          </a:xfrm>
          <a:solidFill>
            <a:sysClr val="windowText" lastClr="000000"/>
          </a:solidFill>
        </p:grpSpPr>
        <p:sp>
          <p:nvSpPr>
            <p:cNvPr id="98" name="Freeform 464">
              <a:extLst>
                <a:ext uri="{FF2B5EF4-FFF2-40B4-BE49-F238E27FC236}">
                  <a16:creationId xmlns:a16="http://schemas.microsoft.com/office/drawing/2014/main" id="{0B067C8D-8D9D-7619-86B7-8AE059E69F99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 flipV="1">
              <a:off x="5533953" y="1470609"/>
              <a:ext cx="252000" cy="144000"/>
            </a:xfrm>
            <a:custGeom>
              <a:avLst/>
              <a:gdLst>
                <a:gd name="T0" fmla="*/ 309 w 320"/>
                <a:gd name="T1" fmla="*/ 53 h 128"/>
                <a:gd name="T2" fmla="*/ 127 w 320"/>
                <a:gd name="T3" fmla="*/ 53 h 128"/>
                <a:gd name="T4" fmla="*/ 64 w 320"/>
                <a:gd name="T5" fmla="*/ 0 h 128"/>
                <a:gd name="T6" fmla="*/ 0 w 320"/>
                <a:gd name="T7" fmla="*/ 64 h 128"/>
                <a:gd name="T8" fmla="*/ 64 w 320"/>
                <a:gd name="T9" fmla="*/ 128 h 128"/>
                <a:gd name="T10" fmla="*/ 127 w 320"/>
                <a:gd name="T11" fmla="*/ 74 h 128"/>
                <a:gd name="T12" fmla="*/ 256 w 320"/>
                <a:gd name="T13" fmla="*/ 74 h 128"/>
                <a:gd name="T14" fmla="*/ 256 w 320"/>
                <a:gd name="T15" fmla="*/ 96 h 128"/>
                <a:gd name="T16" fmla="*/ 266 w 320"/>
                <a:gd name="T17" fmla="*/ 106 h 128"/>
                <a:gd name="T18" fmla="*/ 277 w 320"/>
                <a:gd name="T19" fmla="*/ 96 h 128"/>
                <a:gd name="T20" fmla="*/ 277 w 320"/>
                <a:gd name="T21" fmla="*/ 74 h 128"/>
                <a:gd name="T22" fmla="*/ 298 w 320"/>
                <a:gd name="T23" fmla="*/ 74 h 128"/>
                <a:gd name="T24" fmla="*/ 298 w 320"/>
                <a:gd name="T25" fmla="*/ 117 h 128"/>
                <a:gd name="T26" fmla="*/ 309 w 320"/>
                <a:gd name="T27" fmla="*/ 128 h 128"/>
                <a:gd name="T28" fmla="*/ 320 w 320"/>
                <a:gd name="T29" fmla="*/ 117 h 128"/>
                <a:gd name="T30" fmla="*/ 320 w 320"/>
                <a:gd name="T31" fmla="*/ 64 h 128"/>
                <a:gd name="T32" fmla="*/ 309 w 320"/>
                <a:gd name="T33" fmla="*/ 53 h 128"/>
                <a:gd name="T34" fmla="*/ 64 w 320"/>
                <a:gd name="T35" fmla="*/ 106 h 128"/>
                <a:gd name="T36" fmla="*/ 21 w 320"/>
                <a:gd name="T37" fmla="*/ 64 h 128"/>
                <a:gd name="T38" fmla="*/ 64 w 320"/>
                <a:gd name="T39" fmla="*/ 21 h 128"/>
                <a:gd name="T40" fmla="*/ 106 w 320"/>
                <a:gd name="T41" fmla="*/ 64 h 128"/>
                <a:gd name="T42" fmla="*/ 64 w 320"/>
                <a:gd name="T43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127" y="53"/>
                    <a:pt x="127" y="53"/>
                    <a:pt x="127" y="53"/>
                  </a:cubicBezTo>
                  <a:cubicBezTo>
                    <a:pt x="122" y="23"/>
                    <a:pt x="95" y="0"/>
                    <a:pt x="64" y="0"/>
                  </a:cubicBezTo>
                  <a:cubicBezTo>
                    <a:pt x="28" y="0"/>
                    <a:pt x="0" y="28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5" y="128"/>
                    <a:pt x="122" y="105"/>
                    <a:pt x="12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02"/>
                    <a:pt x="260" y="106"/>
                    <a:pt x="266" y="106"/>
                  </a:cubicBezTo>
                  <a:cubicBezTo>
                    <a:pt x="272" y="106"/>
                    <a:pt x="277" y="102"/>
                    <a:pt x="277" y="96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98" y="74"/>
                    <a:pt x="298" y="74"/>
                    <a:pt x="298" y="74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8" y="123"/>
                    <a:pt x="303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64" y="106"/>
                  </a:moveTo>
                  <a:cubicBezTo>
                    <a:pt x="40" y="106"/>
                    <a:pt x="21" y="87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7"/>
                    <a:pt x="87" y="106"/>
                    <a:pt x="6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576C3AB0-7975-4DC9-BE6E-65BD33F1F2CC}"/>
                </a:ext>
              </a:extLst>
            </p:cNvPr>
            <p:cNvGrpSpPr/>
            <p:nvPr/>
          </p:nvGrpSpPr>
          <p:grpSpPr>
            <a:xfrm>
              <a:off x="5061952" y="1209279"/>
              <a:ext cx="464932" cy="506774"/>
              <a:chOff x="3597045" y="642734"/>
              <a:chExt cx="1996732" cy="2230815"/>
            </a:xfrm>
            <a:grpFill/>
          </p:grpSpPr>
          <p:sp>
            <p:nvSpPr>
              <p:cNvPr id="101" name="Freeform 7">
                <a:extLst>
                  <a:ext uri="{FF2B5EF4-FFF2-40B4-BE49-F238E27FC236}">
                    <a16:creationId xmlns:a16="http://schemas.microsoft.com/office/drawing/2014/main" id="{A4F51355-2095-73C8-5527-C78DD8C617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7045" y="642734"/>
                <a:ext cx="860240" cy="2085309"/>
              </a:xfrm>
              <a:custGeom>
                <a:avLst/>
                <a:gdLst>
                  <a:gd name="T0" fmla="*/ 86 w 149"/>
                  <a:gd name="T1" fmla="*/ 290 h 348"/>
                  <a:gd name="T2" fmla="*/ 86 w 149"/>
                  <a:gd name="T3" fmla="*/ 290 h 348"/>
                  <a:gd name="T4" fmla="*/ 74 w 149"/>
                  <a:gd name="T5" fmla="*/ 302 h 348"/>
                  <a:gd name="T6" fmla="*/ 62 w 149"/>
                  <a:gd name="T7" fmla="*/ 290 h 348"/>
                  <a:gd name="T8" fmla="*/ 74 w 149"/>
                  <a:gd name="T9" fmla="*/ 278 h 348"/>
                  <a:gd name="T10" fmla="*/ 86 w 149"/>
                  <a:gd name="T11" fmla="*/ 290 h 348"/>
                  <a:gd name="T12" fmla="*/ 149 w 149"/>
                  <a:gd name="T13" fmla="*/ 24 h 348"/>
                  <a:gd name="T14" fmla="*/ 149 w 149"/>
                  <a:gd name="T15" fmla="*/ 24 h 348"/>
                  <a:gd name="T16" fmla="*/ 149 w 149"/>
                  <a:gd name="T17" fmla="*/ 325 h 348"/>
                  <a:gd name="T18" fmla="*/ 124 w 149"/>
                  <a:gd name="T19" fmla="*/ 348 h 348"/>
                  <a:gd name="T20" fmla="*/ 25 w 149"/>
                  <a:gd name="T21" fmla="*/ 348 h 348"/>
                  <a:gd name="T22" fmla="*/ 0 w 149"/>
                  <a:gd name="T23" fmla="*/ 325 h 348"/>
                  <a:gd name="T24" fmla="*/ 0 w 149"/>
                  <a:gd name="T25" fmla="*/ 24 h 348"/>
                  <a:gd name="T26" fmla="*/ 25 w 149"/>
                  <a:gd name="T27" fmla="*/ 0 h 348"/>
                  <a:gd name="T28" fmla="*/ 124 w 149"/>
                  <a:gd name="T29" fmla="*/ 0 h 348"/>
                  <a:gd name="T30" fmla="*/ 149 w 149"/>
                  <a:gd name="T31" fmla="*/ 24 h 348"/>
                  <a:gd name="T32" fmla="*/ 126 w 149"/>
                  <a:gd name="T33" fmla="*/ 324 h 348"/>
                  <a:gd name="T34" fmla="*/ 126 w 149"/>
                  <a:gd name="T35" fmla="*/ 324 h 348"/>
                  <a:gd name="T36" fmla="*/ 126 w 149"/>
                  <a:gd name="T37" fmla="*/ 24 h 348"/>
                  <a:gd name="T38" fmla="*/ 22 w 149"/>
                  <a:gd name="T39" fmla="*/ 24 h 348"/>
                  <a:gd name="T40" fmla="*/ 22 w 149"/>
                  <a:gd name="T41" fmla="*/ 325 h 348"/>
                  <a:gd name="T42" fmla="*/ 124 w 149"/>
                  <a:gd name="T43" fmla="*/ 325 h 348"/>
                  <a:gd name="T44" fmla="*/ 126 w 149"/>
                  <a:gd name="T45" fmla="*/ 324 h 348"/>
                  <a:gd name="T46" fmla="*/ 114 w 149"/>
                  <a:gd name="T47" fmla="*/ 47 h 348"/>
                  <a:gd name="T48" fmla="*/ 114 w 149"/>
                  <a:gd name="T49" fmla="*/ 47 h 348"/>
                  <a:gd name="T50" fmla="*/ 114 w 149"/>
                  <a:gd name="T51" fmla="*/ 244 h 348"/>
                  <a:gd name="T52" fmla="*/ 102 w 149"/>
                  <a:gd name="T53" fmla="*/ 256 h 348"/>
                  <a:gd name="T54" fmla="*/ 46 w 149"/>
                  <a:gd name="T55" fmla="*/ 256 h 348"/>
                  <a:gd name="T56" fmla="*/ 34 w 149"/>
                  <a:gd name="T57" fmla="*/ 244 h 348"/>
                  <a:gd name="T58" fmla="*/ 34 w 149"/>
                  <a:gd name="T59" fmla="*/ 47 h 348"/>
                  <a:gd name="T60" fmla="*/ 46 w 149"/>
                  <a:gd name="T61" fmla="*/ 35 h 348"/>
                  <a:gd name="T62" fmla="*/ 102 w 149"/>
                  <a:gd name="T63" fmla="*/ 35 h 348"/>
                  <a:gd name="T64" fmla="*/ 114 w 149"/>
                  <a:gd name="T65" fmla="*/ 47 h 348"/>
                  <a:gd name="T66" fmla="*/ 57 w 149"/>
                  <a:gd name="T67" fmla="*/ 233 h 348"/>
                  <a:gd name="T68" fmla="*/ 57 w 149"/>
                  <a:gd name="T69" fmla="*/ 233 h 348"/>
                  <a:gd name="T70" fmla="*/ 91 w 149"/>
                  <a:gd name="T71" fmla="*/ 233 h 348"/>
                  <a:gd name="T72" fmla="*/ 91 w 149"/>
                  <a:gd name="T73" fmla="*/ 59 h 348"/>
                  <a:gd name="T74" fmla="*/ 57 w 149"/>
                  <a:gd name="T75" fmla="*/ 59 h 348"/>
                  <a:gd name="T76" fmla="*/ 57 w 149"/>
                  <a:gd name="T77" fmla="*/ 23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9" h="348">
                    <a:moveTo>
                      <a:pt x="86" y="290"/>
                    </a:moveTo>
                    <a:lnTo>
                      <a:pt x="86" y="290"/>
                    </a:lnTo>
                    <a:cubicBezTo>
                      <a:pt x="86" y="297"/>
                      <a:pt x="81" y="302"/>
                      <a:pt x="74" y="302"/>
                    </a:cubicBezTo>
                    <a:cubicBezTo>
                      <a:pt x="68" y="302"/>
                      <a:pt x="62" y="297"/>
                      <a:pt x="62" y="290"/>
                    </a:cubicBezTo>
                    <a:cubicBezTo>
                      <a:pt x="62" y="284"/>
                      <a:pt x="68" y="278"/>
                      <a:pt x="74" y="278"/>
                    </a:cubicBezTo>
                    <a:cubicBezTo>
                      <a:pt x="81" y="278"/>
                      <a:pt x="86" y="284"/>
                      <a:pt x="86" y="290"/>
                    </a:cubicBezTo>
                    <a:close/>
                    <a:moveTo>
                      <a:pt x="149" y="24"/>
                    </a:moveTo>
                    <a:lnTo>
                      <a:pt x="149" y="24"/>
                    </a:lnTo>
                    <a:lnTo>
                      <a:pt x="149" y="325"/>
                    </a:lnTo>
                    <a:cubicBezTo>
                      <a:pt x="149" y="338"/>
                      <a:pt x="138" y="348"/>
                      <a:pt x="124" y="348"/>
                    </a:cubicBezTo>
                    <a:lnTo>
                      <a:pt x="25" y="348"/>
                    </a:lnTo>
                    <a:cubicBezTo>
                      <a:pt x="11" y="348"/>
                      <a:pt x="0" y="338"/>
                      <a:pt x="0" y="32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5" y="0"/>
                    </a:cubicBezTo>
                    <a:lnTo>
                      <a:pt x="124" y="0"/>
                    </a:ln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26" y="324"/>
                    </a:moveTo>
                    <a:lnTo>
                      <a:pt x="126" y="324"/>
                    </a:lnTo>
                    <a:lnTo>
                      <a:pt x="126" y="24"/>
                    </a:lnTo>
                    <a:lnTo>
                      <a:pt x="22" y="24"/>
                    </a:lnTo>
                    <a:lnTo>
                      <a:pt x="22" y="325"/>
                    </a:lnTo>
                    <a:lnTo>
                      <a:pt x="124" y="325"/>
                    </a:lnTo>
                    <a:cubicBezTo>
                      <a:pt x="125" y="325"/>
                      <a:pt x="126" y="325"/>
                      <a:pt x="126" y="324"/>
                    </a:cubicBezTo>
                    <a:close/>
                    <a:moveTo>
                      <a:pt x="114" y="47"/>
                    </a:moveTo>
                    <a:lnTo>
                      <a:pt x="114" y="47"/>
                    </a:lnTo>
                    <a:lnTo>
                      <a:pt x="114" y="244"/>
                    </a:lnTo>
                    <a:cubicBezTo>
                      <a:pt x="114" y="250"/>
                      <a:pt x="109" y="256"/>
                      <a:pt x="102" y="256"/>
                    </a:cubicBezTo>
                    <a:lnTo>
                      <a:pt x="46" y="256"/>
                    </a:lnTo>
                    <a:cubicBezTo>
                      <a:pt x="40" y="256"/>
                      <a:pt x="34" y="250"/>
                      <a:pt x="34" y="244"/>
                    </a:cubicBezTo>
                    <a:lnTo>
                      <a:pt x="34" y="47"/>
                    </a:lnTo>
                    <a:cubicBezTo>
                      <a:pt x="34" y="41"/>
                      <a:pt x="40" y="35"/>
                      <a:pt x="46" y="35"/>
                    </a:cubicBezTo>
                    <a:lnTo>
                      <a:pt x="102" y="35"/>
                    </a:lnTo>
                    <a:cubicBezTo>
                      <a:pt x="109" y="35"/>
                      <a:pt x="114" y="41"/>
                      <a:pt x="114" y="47"/>
                    </a:cubicBezTo>
                    <a:close/>
                    <a:moveTo>
                      <a:pt x="57" y="233"/>
                    </a:moveTo>
                    <a:lnTo>
                      <a:pt x="57" y="233"/>
                    </a:lnTo>
                    <a:lnTo>
                      <a:pt x="91" y="233"/>
                    </a:lnTo>
                    <a:lnTo>
                      <a:pt x="91" y="59"/>
                    </a:lnTo>
                    <a:lnTo>
                      <a:pt x="57" y="59"/>
                    </a:lnTo>
                    <a:lnTo>
                      <a:pt x="57" y="233"/>
                    </a:lnTo>
                    <a:close/>
                  </a:path>
                </a:pathLst>
              </a:custGeom>
              <a:grpFill/>
              <a:ln w="127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E68389F1-7F01-21B7-C921-34339E18CA6D}"/>
                  </a:ext>
                </a:extLst>
              </p:cNvPr>
              <p:cNvGrpSpPr/>
              <p:nvPr/>
            </p:nvGrpSpPr>
            <p:grpSpPr>
              <a:xfrm>
                <a:off x="4420477" y="1307204"/>
                <a:ext cx="1173300" cy="1566345"/>
                <a:chOff x="9265934" y="2596594"/>
                <a:chExt cx="1173300" cy="1566345"/>
              </a:xfrm>
              <a:grpFill/>
            </p:grpSpPr>
            <p:sp>
              <p:nvSpPr>
                <p:cNvPr id="103" name="Freeform 12">
                  <a:extLst>
                    <a:ext uri="{FF2B5EF4-FFF2-40B4-BE49-F238E27FC236}">
                      <a16:creationId xmlns:a16="http://schemas.microsoft.com/office/drawing/2014/main" id="{84D6D60F-2DC9-DB48-C2E8-4D7241491A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65934" y="2596594"/>
                  <a:ext cx="1173300" cy="1451261"/>
                </a:xfrm>
                <a:custGeom>
                  <a:avLst/>
                  <a:gdLst>
                    <a:gd name="T0" fmla="*/ 22 w 372"/>
                    <a:gd name="T1" fmla="*/ 84 h 474"/>
                    <a:gd name="T2" fmla="*/ 186 w 372"/>
                    <a:gd name="T3" fmla="*/ 144 h 474"/>
                    <a:gd name="T4" fmla="*/ 186 w 372"/>
                    <a:gd name="T5" fmla="*/ 372 h 474"/>
                    <a:gd name="T6" fmla="*/ 351 w 372"/>
                    <a:gd name="T7" fmla="*/ 391 h 474"/>
                    <a:gd name="T8" fmla="*/ 22 w 372"/>
                    <a:gd name="T9" fmla="*/ 393 h 474"/>
                    <a:gd name="T10" fmla="*/ 22 w 372"/>
                    <a:gd name="T11" fmla="*/ 328 h 474"/>
                    <a:gd name="T12" fmla="*/ 322 w 372"/>
                    <a:gd name="T13" fmla="*/ 320 h 474"/>
                    <a:gd name="T14" fmla="*/ 252 w 372"/>
                    <a:gd name="T15" fmla="*/ 343 h 474"/>
                    <a:gd name="T16" fmla="*/ 234 w 372"/>
                    <a:gd name="T17" fmla="*/ 346 h 474"/>
                    <a:gd name="T18" fmla="*/ 214 w 372"/>
                    <a:gd name="T19" fmla="*/ 347 h 474"/>
                    <a:gd name="T20" fmla="*/ 158 w 372"/>
                    <a:gd name="T21" fmla="*/ 347 h 474"/>
                    <a:gd name="T22" fmla="*/ 138 w 372"/>
                    <a:gd name="T23" fmla="*/ 346 h 474"/>
                    <a:gd name="T24" fmla="*/ 59 w 372"/>
                    <a:gd name="T25" fmla="*/ 325 h 474"/>
                    <a:gd name="T26" fmla="*/ 42 w 372"/>
                    <a:gd name="T27" fmla="*/ 315 h 474"/>
                    <a:gd name="T28" fmla="*/ 35 w 372"/>
                    <a:gd name="T29" fmla="*/ 310 h 474"/>
                    <a:gd name="T30" fmla="*/ 27 w 372"/>
                    <a:gd name="T31" fmla="*/ 301 h 474"/>
                    <a:gd name="T32" fmla="*/ 23 w 372"/>
                    <a:gd name="T33" fmla="*/ 294 h 474"/>
                    <a:gd name="T34" fmla="*/ 22 w 372"/>
                    <a:gd name="T35" fmla="*/ 226 h 474"/>
                    <a:gd name="T36" fmla="*/ 351 w 372"/>
                    <a:gd name="T37" fmla="*/ 227 h 474"/>
                    <a:gd name="T38" fmla="*/ 351 w 372"/>
                    <a:gd name="T39" fmla="*/ 291 h 474"/>
                    <a:gd name="T40" fmla="*/ 349 w 372"/>
                    <a:gd name="T41" fmla="*/ 296 h 474"/>
                    <a:gd name="T42" fmla="*/ 344 w 372"/>
                    <a:gd name="T43" fmla="*/ 304 h 474"/>
                    <a:gd name="T44" fmla="*/ 336 w 372"/>
                    <a:gd name="T45" fmla="*/ 311 h 474"/>
                    <a:gd name="T46" fmla="*/ 323 w 372"/>
                    <a:gd name="T47" fmla="*/ 320 h 474"/>
                    <a:gd name="T48" fmla="*/ 48 w 372"/>
                    <a:gd name="T49" fmla="*/ 221 h 474"/>
                    <a:gd name="T50" fmla="*/ 48 w 372"/>
                    <a:gd name="T51" fmla="*/ 221 h 474"/>
                    <a:gd name="T52" fmla="*/ 22 w 372"/>
                    <a:gd name="T53" fmla="*/ 124 h 474"/>
                    <a:gd name="T54" fmla="*/ 29 w 372"/>
                    <a:gd name="T55" fmla="*/ 130 h 474"/>
                    <a:gd name="T56" fmla="*/ 48 w 372"/>
                    <a:gd name="T57" fmla="*/ 142 h 474"/>
                    <a:gd name="T58" fmla="*/ 64 w 372"/>
                    <a:gd name="T59" fmla="*/ 148 h 474"/>
                    <a:gd name="T60" fmla="*/ 90 w 372"/>
                    <a:gd name="T61" fmla="*/ 157 h 474"/>
                    <a:gd name="T62" fmla="*/ 110 w 372"/>
                    <a:gd name="T63" fmla="*/ 161 h 474"/>
                    <a:gd name="T64" fmla="*/ 143 w 372"/>
                    <a:gd name="T65" fmla="*/ 166 h 474"/>
                    <a:gd name="T66" fmla="*/ 167 w 372"/>
                    <a:gd name="T67" fmla="*/ 168 h 474"/>
                    <a:gd name="T68" fmla="*/ 226 w 372"/>
                    <a:gd name="T69" fmla="*/ 166 h 474"/>
                    <a:gd name="T70" fmla="*/ 250 w 372"/>
                    <a:gd name="T71" fmla="*/ 163 h 474"/>
                    <a:gd name="T72" fmla="*/ 281 w 372"/>
                    <a:gd name="T73" fmla="*/ 157 h 474"/>
                    <a:gd name="T74" fmla="*/ 300 w 372"/>
                    <a:gd name="T75" fmla="*/ 152 h 474"/>
                    <a:gd name="T76" fmla="*/ 323 w 372"/>
                    <a:gd name="T77" fmla="*/ 142 h 474"/>
                    <a:gd name="T78" fmla="*/ 336 w 372"/>
                    <a:gd name="T79" fmla="*/ 135 h 474"/>
                    <a:gd name="T80" fmla="*/ 351 w 372"/>
                    <a:gd name="T81" fmla="*/ 124 h 474"/>
                    <a:gd name="T82" fmla="*/ 350 w 372"/>
                    <a:gd name="T83" fmla="*/ 192 h 474"/>
                    <a:gd name="T84" fmla="*/ 346 w 372"/>
                    <a:gd name="T85" fmla="*/ 199 h 474"/>
                    <a:gd name="T86" fmla="*/ 338 w 372"/>
                    <a:gd name="T87" fmla="*/ 208 h 474"/>
                    <a:gd name="T88" fmla="*/ 330 w 372"/>
                    <a:gd name="T89" fmla="*/ 214 h 474"/>
                    <a:gd name="T90" fmla="*/ 313 w 372"/>
                    <a:gd name="T91" fmla="*/ 223 h 474"/>
                    <a:gd name="T92" fmla="*/ 237 w 372"/>
                    <a:gd name="T93" fmla="*/ 243 h 474"/>
                    <a:gd name="T94" fmla="*/ 216 w 372"/>
                    <a:gd name="T95" fmla="*/ 245 h 474"/>
                    <a:gd name="T96" fmla="*/ 169 w 372"/>
                    <a:gd name="T97" fmla="*/ 246 h 474"/>
                    <a:gd name="T98" fmla="*/ 139 w 372"/>
                    <a:gd name="T99" fmla="*/ 244 h 474"/>
                    <a:gd name="T100" fmla="*/ 121 w 372"/>
                    <a:gd name="T101" fmla="*/ 241 h 474"/>
                    <a:gd name="T102" fmla="*/ 50 w 372"/>
                    <a:gd name="T103" fmla="*/ 218 h 474"/>
                    <a:gd name="T104" fmla="*/ 36 w 372"/>
                    <a:gd name="T105" fmla="*/ 209 h 474"/>
                    <a:gd name="T106" fmla="*/ 29 w 372"/>
                    <a:gd name="T107" fmla="*/ 202 h 474"/>
                    <a:gd name="T108" fmla="*/ 24 w 372"/>
                    <a:gd name="T109" fmla="*/ 194 h 474"/>
                    <a:gd name="T110" fmla="*/ 22 w 372"/>
                    <a:gd name="T111" fmla="*/ 186 h 474"/>
                    <a:gd name="T112" fmla="*/ 371 w 372"/>
                    <a:gd name="T113" fmla="*/ 74 h 474"/>
                    <a:gd name="T114" fmla="*/ 2 w 372"/>
                    <a:gd name="T115" fmla="*/ 74 h 474"/>
                    <a:gd name="T116" fmla="*/ 1 w 372"/>
                    <a:gd name="T117" fmla="*/ 399 h 474"/>
                    <a:gd name="T118" fmla="*/ 372 w 372"/>
                    <a:gd name="T119" fmla="*/ 394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72" h="474">
                      <a:moveTo>
                        <a:pt x="186" y="144"/>
                      </a:moveTo>
                      <a:lnTo>
                        <a:pt x="186" y="144"/>
                      </a:lnTo>
                      <a:cubicBezTo>
                        <a:pt x="84" y="144"/>
                        <a:pt x="22" y="109"/>
                        <a:pt x="22" y="84"/>
                      </a:cubicBezTo>
                      <a:cubicBezTo>
                        <a:pt x="22" y="46"/>
                        <a:pt x="118" y="23"/>
                        <a:pt x="186" y="23"/>
                      </a:cubicBezTo>
                      <a:cubicBezTo>
                        <a:pt x="288" y="23"/>
                        <a:pt x="351" y="59"/>
                        <a:pt x="351" y="84"/>
                      </a:cubicBezTo>
                      <a:cubicBezTo>
                        <a:pt x="351" y="109"/>
                        <a:pt x="288" y="144"/>
                        <a:pt x="186" y="144"/>
                      </a:cubicBezTo>
                      <a:lnTo>
                        <a:pt x="186" y="144"/>
                      </a:lnTo>
                      <a:close/>
                      <a:moveTo>
                        <a:pt x="186" y="372"/>
                      </a:moveTo>
                      <a:lnTo>
                        <a:pt x="186" y="372"/>
                      </a:lnTo>
                      <a:cubicBezTo>
                        <a:pt x="259" y="372"/>
                        <a:pt x="319" y="356"/>
                        <a:pt x="351" y="329"/>
                      </a:cubicBezTo>
                      <a:cubicBezTo>
                        <a:pt x="351" y="328"/>
                        <a:pt x="351" y="328"/>
                        <a:pt x="351" y="328"/>
                      </a:cubicBezTo>
                      <a:lnTo>
                        <a:pt x="351" y="391"/>
                      </a:lnTo>
                      <a:lnTo>
                        <a:pt x="351" y="392"/>
                      </a:lnTo>
                      <a:cubicBezTo>
                        <a:pt x="347" y="420"/>
                        <a:pt x="279" y="450"/>
                        <a:pt x="186" y="450"/>
                      </a:cubicBezTo>
                      <a:cubicBezTo>
                        <a:pt x="94" y="450"/>
                        <a:pt x="26" y="420"/>
                        <a:pt x="22" y="393"/>
                      </a:cubicBezTo>
                      <a:cubicBezTo>
                        <a:pt x="22" y="392"/>
                        <a:pt x="22" y="392"/>
                        <a:pt x="22" y="392"/>
                      </a:cubicBezTo>
                      <a:lnTo>
                        <a:pt x="22" y="328"/>
                      </a:lnTo>
                      <a:cubicBezTo>
                        <a:pt x="22" y="328"/>
                        <a:pt x="22" y="328"/>
                        <a:pt x="22" y="328"/>
                      </a:cubicBezTo>
                      <a:cubicBezTo>
                        <a:pt x="53" y="356"/>
                        <a:pt x="113" y="372"/>
                        <a:pt x="186" y="372"/>
                      </a:cubicBezTo>
                      <a:lnTo>
                        <a:pt x="186" y="372"/>
                      </a:lnTo>
                      <a:close/>
                      <a:moveTo>
                        <a:pt x="322" y="320"/>
                      </a:moveTo>
                      <a:lnTo>
                        <a:pt x="322" y="320"/>
                      </a:lnTo>
                      <a:cubicBezTo>
                        <a:pt x="320" y="322"/>
                        <a:pt x="317" y="323"/>
                        <a:pt x="313" y="325"/>
                      </a:cubicBezTo>
                      <a:cubicBezTo>
                        <a:pt x="297" y="333"/>
                        <a:pt x="275" y="339"/>
                        <a:pt x="252" y="343"/>
                      </a:cubicBezTo>
                      <a:lnTo>
                        <a:pt x="251" y="343"/>
                      </a:lnTo>
                      <a:cubicBezTo>
                        <a:pt x="247" y="344"/>
                        <a:pt x="242" y="345"/>
                        <a:pt x="237" y="345"/>
                      </a:cubicBezTo>
                      <a:lnTo>
                        <a:pt x="234" y="346"/>
                      </a:lnTo>
                      <a:cubicBezTo>
                        <a:pt x="230" y="346"/>
                        <a:pt x="225" y="347"/>
                        <a:pt x="221" y="347"/>
                      </a:cubicBezTo>
                      <a:cubicBezTo>
                        <a:pt x="220" y="347"/>
                        <a:pt x="219" y="347"/>
                        <a:pt x="217" y="347"/>
                      </a:cubicBezTo>
                      <a:lnTo>
                        <a:pt x="214" y="347"/>
                      </a:lnTo>
                      <a:cubicBezTo>
                        <a:pt x="210" y="348"/>
                        <a:pt x="207" y="348"/>
                        <a:pt x="204" y="348"/>
                      </a:cubicBezTo>
                      <a:cubicBezTo>
                        <a:pt x="192" y="349"/>
                        <a:pt x="180" y="349"/>
                        <a:pt x="169" y="348"/>
                      </a:cubicBezTo>
                      <a:cubicBezTo>
                        <a:pt x="165" y="348"/>
                        <a:pt x="162" y="348"/>
                        <a:pt x="158" y="347"/>
                      </a:cubicBezTo>
                      <a:lnTo>
                        <a:pt x="157" y="347"/>
                      </a:lnTo>
                      <a:cubicBezTo>
                        <a:pt x="155" y="347"/>
                        <a:pt x="154" y="347"/>
                        <a:pt x="152" y="347"/>
                      </a:cubicBezTo>
                      <a:cubicBezTo>
                        <a:pt x="147" y="347"/>
                        <a:pt x="143" y="346"/>
                        <a:pt x="138" y="346"/>
                      </a:cubicBezTo>
                      <a:cubicBezTo>
                        <a:pt x="137" y="345"/>
                        <a:pt x="137" y="345"/>
                        <a:pt x="136" y="345"/>
                      </a:cubicBezTo>
                      <a:cubicBezTo>
                        <a:pt x="131" y="345"/>
                        <a:pt x="126" y="344"/>
                        <a:pt x="121" y="343"/>
                      </a:cubicBezTo>
                      <a:cubicBezTo>
                        <a:pt x="98" y="339"/>
                        <a:pt x="76" y="333"/>
                        <a:pt x="59" y="325"/>
                      </a:cubicBezTo>
                      <a:cubicBezTo>
                        <a:pt x="56" y="323"/>
                        <a:pt x="53" y="322"/>
                        <a:pt x="51" y="320"/>
                      </a:cubicBezTo>
                      <a:lnTo>
                        <a:pt x="50" y="320"/>
                      </a:lnTo>
                      <a:cubicBezTo>
                        <a:pt x="47" y="319"/>
                        <a:pt x="45" y="317"/>
                        <a:pt x="42" y="315"/>
                      </a:cubicBezTo>
                      <a:lnTo>
                        <a:pt x="41" y="315"/>
                      </a:lnTo>
                      <a:cubicBezTo>
                        <a:pt x="40" y="314"/>
                        <a:pt x="38" y="312"/>
                        <a:pt x="36" y="311"/>
                      </a:cubicBezTo>
                      <a:lnTo>
                        <a:pt x="35" y="310"/>
                      </a:lnTo>
                      <a:cubicBezTo>
                        <a:pt x="33" y="308"/>
                        <a:pt x="32" y="307"/>
                        <a:pt x="31" y="306"/>
                      </a:cubicBezTo>
                      <a:cubicBezTo>
                        <a:pt x="30" y="306"/>
                        <a:pt x="30" y="305"/>
                        <a:pt x="29" y="304"/>
                      </a:cubicBezTo>
                      <a:cubicBezTo>
                        <a:pt x="28" y="303"/>
                        <a:pt x="27" y="302"/>
                        <a:pt x="27" y="301"/>
                      </a:cubicBezTo>
                      <a:cubicBezTo>
                        <a:pt x="26" y="300"/>
                        <a:pt x="26" y="300"/>
                        <a:pt x="25" y="299"/>
                      </a:cubicBezTo>
                      <a:cubicBezTo>
                        <a:pt x="25" y="298"/>
                        <a:pt x="24" y="297"/>
                        <a:pt x="24" y="296"/>
                      </a:cubicBezTo>
                      <a:cubicBezTo>
                        <a:pt x="23" y="296"/>
                        <a:pt x="23" y="295"/>
                        <a:pt x="23" y="294"/>
                      </a:cubicBezTo>
                      <a:cubicBezTo>
                        <a:pt x="22" y="293"/>
                        <a:pt x="22" y="292"/>
                        <a:pt x="22" y="291"/>
                      </a:cubicBezTo>
                      <a:cubicBezTo>
                        <a:pt x="22" y="290"/>
                        <a:pt x="22" y="289"/>
                        <a:pt x="22" y="288"/>
                      </a:cubicBezTo>
                      <a:lnTo>
                        <a:pt x="22" y="226"/>
                      </a:lnTo>
                      <a:cubicBezTo>
                        <a:pt x="22" y="226"/>
                        <a:pt x="22" y="226"/>
                        <a:pt x="22" y="226"/>
                      </a:cubicBezTo>
                      <a:cubicBezTo>
                        <a:pt x="53" y="254"/>
                        <a:pt x="113" y="270"/>
                        <a:pt x="186" y="270"/>
                      </a:cubicBezTo>
                      <a:cubicBezTo>
                        <a:pt x="259" y="270"/>
                        <a:pt x="319" y="254"/>
                        <a:pt x="351" y="227"/>
                      </a:cubicBezTo>
                      <a:cubicBezTo>
                        <a:pt x="351" y="226"/>
                        <a:pt x="351" y="226"/>
                        <a:pt x="351" y="226"/>
                      </a:cubicBezTo>
                      <a:lnTo>
                        <a:pt x="351" y="288"/>
                      </a:lnTo>
                      <a:cubicBezTo>
                        <a:pt x="351" y="289"/>
                        <a:pt x="351" y="290"/>
                        <a:pt x="351" y="291"/>
                      </a:cubicBezTo>
                      <a:lnTo>
                        <a:pt x="351" y="291"/>
                      </a:lnTo>
                      <a:cubicBezTo>
                        <a:pt x="350" y="292"/>
                        <a:pt x="350" y="293"/>
                        <a:pt x="350" y="294"/>
                      </a:cubicBezTo>
                      <a:cubicBezTo>
                        <a:pt x="350" y="295"/>
                        <a:pt x="349" y="296"/>
                        <a:pt x="349" y="296"/>
                      </a:cubicBezTo>
                      <a:cubicBezTo>
                        <a:pt x="349" y="297"/>
                        <a:pt x="348" y="298"/>
                        <a:pt x="348" y="299"/>
                      </a:cubicBezTo>
                      <a:cubicBezTo>
                        <a:pt x="347" y="300"/>
                        <a:pt x="347" y="301"/>
                        <a:pt x="346" y="301"/>
                      </a:cubicBezTo>
                      <a:cubicBezTo>
                        <a:pt x="345" y="302"/>
                        <a:pt x="344" y="303"/>
                        <a:pt x="344" y="304"/>
                      </a:cubicBezTo>
                      <a:cubicBezTo>
                        <a:pt x="343" y="305"/>
                        <a:pt x="342" y="306"/>
                        <a:pt x="342" y="306"/>
                      </a:cubicBezTo>
                      <a:cubicBezTo>
                        <a:pt x="341" y="307"/>
                        <a:pt x="340" y="308"/>
                        <a:pt x="338" y="310"/>
                      </a:cubicBezTo>
                      <a:cubicBezTo>
                        <a:pt x="338" y="310"/>
                        <a:pt x="337" y="311"/>
                        <a:pt x="336" y="311"/>
                      </a:cubicBezTo>
                      <a:cubicBezTo>
                        <a:pt x="335" y="312"/>
                        <a:pt x="333" y="314"/>
                        <a:pt x="331" y="315"/>
                      </a:cubicBezTo>
                      <a:cubicBezTo>
                        <a:pt x="331" y="315"/>
                        <a:pt x="330" y="316"/>
                        <a:pt x="330" y="316"/>
                      </a:cubicBezTo>
                      <a:cubicBezTo>
                        <a:pt x="328" y="317"/>
                        <a:pt x="325" y="319"/>
                        <a:pt x="323" y="320"/>
                      </a:cubicBezTo>
                      <a:lnTo>
                        <a:pt x="322" y="320"/>
                      </a:lnTo>
                      <a:lnTo>
                        <a:pt x="322" y="320"/>
                      </a:lnTo>
                      <a:close/>
                      <a:moveTo>
                        <a:pt x="48" y="221"/>
                      </a:move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close/>
                      <a:moveTo>
                        <a:pt x="22" y="124"/>
                      </a:moveTo>
                      <a:lnTo>
                        <a:pt x="22" y="124"/>
                      </a:lnTo>
                      <a:cubicBezTo>
                        <a:pt x="23" y="126"/>
                        <a:pt x="26" y="127"/>
                        <a:pt x="28" y="129"/>
                      </a:cubicBezTo>
                      <a:lnTo>
                        <a:pt x="29" y="130"/>
                      </a:lnTo>
                      <a:cubicBezTo>
                        <a:pt x="32" y="132"/>
                        <a:pt x="34" y="133"/>
                        <a:pt x="37" y="135"/>
                      </a:cubicBezTo>
                      <a:lnTo>
                        <a:pt x="39" y="137"/>
                      </a:lnTo>
                      <a:cubicBezTo>
                        <a:pt x="42" y="138"/>
                        <a:pt x="45" y="140"/>
                        <a:pt x="48" y="142"/>
                      </a:cubicBezTo>
                      <a:cubicBezTo>
                        <a:pt x="49" y="142"/>
                        <a:pt x="49" y="142"/>
                        <a:pt x="49" y="142"/>
                      </a:cubicBezTo>
                      <a:cubicBezTo>
                        <a:pt x="53" y="144"/>
                        <a:pt x="56" y="145"/>
                        <a:pt x="60" y="147"/>
                      </a:cubicBezTo>
                      <a:lnTo>
                        <a:pt x="64" y="148"/>
                      </a:lnTo>
                      <a:cubicBezTo>
                        <a:pt x="67" y="150"/>
                        <a:pt x="70" y="151"/>
                        <a:pt x="74" y="152"/>
                      </a:cubicBezTo>
                      <a:cubicBezTo>
                        <a:pt x="75" y="152"/>
                        <a:pt x="76" y="153"/>
                        <a:pt x="77" y="153"/>
                      </a:cubicBezTo>
                      <a:cubicBezTo>
                        <a:pt x="81" y="154"/>
                        <a:pt x="85" y="156"/>
                        <a:pt x="90" y="157"/>
                      </a:cubicBezTo>
                      <a:cubicBezTo>
                        <a:pt x="90" y="157"/>
                        <a:pt x="91" y="157"/>
                        <a:pt x="92" y="157"/>
                      </a:cubicBezTo>
                      <a:cubicBezTo>
                        <a:pt x="96" y="158"/>
                        <a:pt x="101" y="159"/>
                        <a:pt x="105" y="160"/>
                      </a:cubicBezTo>
                      <a:lnTo>
                        <a:pt x="110" y="161"/>
                      </a:lnTo>
                      <a:cubicBezTo>
                        <a:pt x="114" y="162"/>
                        <a:pt x="118" y="163"/>
                        <a:pt x="122" y="163"/>
                      </a:cubicBezTo>
                      <a:lnTo>
                        <a:pt x="126" y="164"/>
                      </a:lnTo>
                      <a:cubicBezTo>
                        <a:pt x="131" y="165"/>
                        <a:pt x="137" y="165"/>
                        <a:pt x="143" y="166"/>
                      </a:cubicBezTo>
                      <a:lnTo>
                        <a:pt x="147" y="166"/>
                      </a:lnTo>
                      <a:cubicBezTo>
                        <a:pt x="152" y="167"/>
                        <a:pt x="156" y="167"/>
                        <a:pt x="161" y="167"/>
                      </a:cubicBezTo>
                      <a:lnTo>
                        <a:pt x="167" y="168"/>
                      </a:lnTo>
                      <a:cubicBezTo>
                        <a:pt x="180" y="168"/>
                        <a:pt x="193" y="168"/>
                        <a:pt x="206" y="168"/>
                      </a:cubicBezTo>
                      <a:lnTo>
                        <a:pt x="212" y="167"/>
                      </a:lnTo>
                      <a:cubicBezTo>
                        <a:pt x="217" y="167"/>
                        <a:pt x="221" y="167"/>
                        <a:pt x="226" y="166"/>
                      </a:cubicBezTo>
                      <a:lnTo>
                        <a:pt x="230" y="166"/>
                      </a:lnTo>
                      <a:cubicBezTo>
                        <a:pt x="236" y="165"/>
                        <a:pt x="241" y="165"/>
                        <a:pt x="247" y="164"/>
                      </a:cubicBezTo>
                      <a:lnTo>
                        <a:pt x="250" y="163"/>
                      </a:lnTo>
                      <a:cubicBezTo>
                        <a:pt x="255" y="163"/>
                        <a:pt x="259" y="162"/>
                        <a:pt x="263" y="161"/>
                      </a:cubicBezTo>
                      <a:lnTo>
                        <a:pt x="268" y="160"/>
                      </a:lnTo>
                      <a:cubicBezTo>
                        <a:pt x="272" y="159"/>
                        <a:pt x="276" y="158"/>
                        <a:pt x="281" y="157"/>
                      </a:cubicBezTo>
                      <a:lnTo>
                        <a:pt x="283" y="157"/>
                      </a:lnTo>
                      <a:cubicBezTo>
                        <a:pt x="287" y="156"/>
                        <a:pt x="292" y="154"/>
                        <a:pt x="296" y="153"/>
                      </a:cubicBezTo>
                      <a:lnTo>
                        <a:pt x="300" y="152"/>
                      </a:lnTo>
                      <a:cubicBezTo>
                        <a:pt x="303" y="151"/>
                        <a:pt x="306" y="150"/>
                        <a:pt x="309" y="148"/>
                      </a:cubicBezTo>
                      <a:lnTo>
                        <a:pt x="312" y="147"/>
                      </a:lnTo>
                      <a:cubicBezTo>
                        <a:pt x="316" y="145"/>
                        <a:pt x="320" y="144"/>
                        <a:pt x="323" y="142"/>
                      </a:cubicBezTo>
                      <a:cubicBezTo>
                        <a:pt x="324" y="142"/>
                        <a:pt x="324" y="142"/>
                        <a:pt x="325" y="141"/>
                      </a:cubicBezTo>
                      <a:cubicBezTo>
                        <a:pt x="328" y="140"/>
                        <a:pt x="331" y="138"/>
                        <a:pt x="334" y="137"/>
                      </a:cubicBezTo>
                      <a:lnTo>
                        <a:pt x="336" y="135"/>
                      </a:lnTo>
                      <a:cubicBezTo>
                        <a:pt x="339" y="133"/>
                        <a:pt x="341" y="132"/>
                        <a:pt x="344" y="130"/>
                      </a:cubicBezTo>
                      <a:lnTo>
                        <a:pt x="345" y="129"/>
                      </a:lnTo>
                      <a:cubicBezTo>
                        <a:pt x="347" y="127"/>
                        <a:pt x="349" y="126"/>
                        <a:pt x="351" y="124"/>
                      </a:cubicBezTo>
                      <a:lnTo>
                        <a:pt x="351" y="186"/>
                      </a:lnTo>
                      <a:cubicBezTo>
                        <a:pt x="351" y="187"/>
                        <a:pt x="351" y="188"/>
                        <a:pt x="351" y="189"/>
                      </a:cubicBezTo>
                      <a:cubicBezTo>
                        <a:pt x="350" y="190"/>
                        <a:pt x="350" y="191"/>
                        <a:pt x="350" y="192"/>
                      </a:cubicBezTo>
                      <a:cubicBezTo>
                        <a:pt x="350" y="193"/>
                        <a:pt x="349" y="194"/>
                        <a:pt x="349" y="194"/>
                      </a:cubicBezTo>
                      <a:cubicBezTo>
                        <a:pt x="349" y="195"/>
                        <a:pt x="348" y="196"/>
                        <a:pt x="348" y="197"/>
                      </a:cubicBezTo>
                      <a:cubicBezTo>
                        <a:pt x="347" y="198"/>
                        <a:pt x="347" y="198"/>
                        <a:pt x="346" y="199"/>
                      </a:cubicBezTo>
                      <a:cubicBezTo>
                        <a:pt x="345" y="200"/>
                        <a:pt x="345" y="201"/>
                        <a:pt x="344" y="202"/>
                      </a:cubicBezTo>
                      <a:lnTo>
                        <a:pt x="342" y="204"/>
                      </a:lnTo>
                      <a:cubicBezTo>
                        <a:pt x="341" y="205"/>
                        <a:pt x="340" y="206"/>
                        <a:pt x="338" y="208"/>
                      </a:cubicBezTo>
                      <a:lnTo>
                        <a:pt x="336" y="209"/>
                      </a:lnTo>
                      <a:cubicBezTo>
                        <a:pt x="335" y="210"/>
                        <a:pt x="333" y="212"/>
                        <a:pt x="331" y="213"/>
                      </a:cubicBezTo>
                      <a:lnTo>
                        <a:pt x="330" y="214"/>
                      </a:lnTo>
                      <a:cubicBezTo>
                        <a:pt x="328" y="215"/>
                        <a:pt x="325" y="217"/>
                        <a:pt x="323" y="218"/>
                      </a:cubicBezTo>
                      <a:lnTo>
                        <a:pt x="322" y="218"/>
                      </a:lnTo>
                      <a:cubicBezTo>
                        <a:pt x="319" y="220"/>
                        <a:pt x="317" y="221"/>
                        <a:pt x="313" y="223"/>
                      </a:cubicBezTo>
                      <a:cubicBezTo>
                        <a:pt x="296" y="231"/>
                        <a:pt x="275" y="237"/>
                        <a:pt x="252" y="241"/>
                      </a:cubicBezTo>
                      <a:lnTo>
                        <a:pt x="251" y="241"/>
                      </a:lnTo>
                      <a:cubicBezTo>
                        <a:pt x="247" y="242"/>
                        <a:pt x="242" y="243"/>
                        <a:pt x="237" y="243"/>
                      </a:cubicBezTo>
                      <a:cubicBezTo>
                        <a:pt x="236" y="243"/>
                        <a:pt x="235" y="243"/>
                        <a:pt x="234" y="244"/>
                      </a:cubicBezTo>
                      <a:cubicBezTo>
                        <a:pt x="230" y="244"/>
                        <a:pt x="225" y="245"/>
                        <a:pt x="221" y="245"/>
                      </a:cubicBezTo>
                      <a:cubicBezTo>
                        <a:pt x="219" y="245"/>
                        <a:pt x="217" y="245"/>
                        <a:pt x="216" y="245"/>
                      </a:cubicBezTo>
                      <a:lnTo>
                        <a:pt x="214" y="245"/>
                      </a:lnTo>
                      <a:cubicBezTo>
                        <a:pt x="211" y="246"/>
                        <a:pt x="207" y="246"/>
                        <a:pt x="204" y="246"/>
                      </a:cubicBezTo>
                      <a:cubicBezTo>
                        <a:pt x="192" y="246"/>
                        <a:pt x="180" y="246"/>
                        <a:pt x="169" y="246"/>
                      </a:cubicBezTo>
                      <a:cubicBezTo>
                        <a:pt x="166" y="246"/>
                        <a:pt x="164" y="246"/>
                        <a:pt x="162" y="246"/>
                      </a:cubicBezTo>
                      <a:lnTo>
                        <a:pt x="152" y="245"/>
                      </a:lnTo>
                      <a:cubicBezTo>
                        <a:pt x="147" y="245"/>
                        <a:pt x="143" y="244"/>
                        <a:pt x="139" y="244"/>
                      </a:cubicBezTo>
                      <a:lnTo>
                        <a:pt x="136" y="243"/>
                      </a:lnTo>
                      <a:cubicBezTo>
                        <a:pt x="131" y="243"/>
                        <a:pt x="126" y="242"/>
                        <a:pt x="122" y="241"/>
                      </a:cubicBezTo>
                      <a:lnTo>
                        <a:pt x="121" y="241"/>
                      </a:lnTo>
                      <a:cubicBezTo>
                        <a:pt x="98" y="237"/>
                        <a:pt x="76" y="231"/>
                        <a:pt x="59" y="223"/>
                      </a:cubicBezTo>
                      <a:cubicBezTo>
                        <a:pt x="56" y="221"/>
                        <a:pt x="53" y="220"/>
                        <a:pt x="51" y="219"/>
                      </a:cubicBezTo>
                      <a:cubicBezTo>
                        <a:pt x="50" y="218"/>
                        <a:pt x="50" y="218"/>
                        <a:pt x="50" y="218"/>
                      </a:cubicBezTo>
                      <a:cubicBezTo>
                        <a:pt x="47" y="217"/>
                        <a:pt x="45" y="215"/>
                        <a:pt x="43" y="214"/>
                      </a:cubicBezTo>
                      <a:lnTo>
                        <a:pt x="41" y="213"/>
                      </a:lnTo>
                      <a:cubicBezTo>
                        <a:pt x="40" y="212"/>
                        <a:pt x="38" y="210"/>
                        <a:pt x="36" y="209"/>
                      </a:cubicBezTo>
                      <a:cubicBezTo>
                        <a:pt x="36" y="209"/>
                        <a:pt x="35" y="208"/>
                        <a:pt x="35" y="208"/>
                      </a:cubicBezTo>
                      <a:cubicBezTo>
                        <a:pt x="33" y="206"/>
                        <a:pt x="32" y="205"/>
                        <a:pt x="31" y="204"/>
                      </a:cubicBezTo>
                      <a:cubicBezTo>
                        <a:pt x="30" y="204"/>
                        <a:pt x="30" y="203"/>
                        <a:pt x="29" y="202"/>
                      </a:cubicBezTo>
                      <a:cubicBezTo>
                        <a:pt x="28" y="201"/>
                        <a:pt x="27" y="200"/>
                        <a:pt x="27" y="199"/>
                      </a:cubicBezTo>
                      <a:cubicBezTo>
                        <a:pt x="26" y="198"/>
                        <a:pt x="26" y="198"/>
                        <a:pt x="25" y="197"/>
                      </a:cubicBezTo>
                      <a:cubicBezTo>
                        <a:pt x="25" y="196"/>
                        <a:pt x="24" y="195"/>
                        <a:pt x="24" y="194"/>
                      </a:cubicBezTo>
                      <a:cubicBezTo>
                        <a:pt x="23" y="193"/>
                        <a:pt x="23" y="193"/>
                        <a:pt x="23" y="192"/>
                      </a:cubicBezTo>
                      <a:cubicBezTo>
                        <a:pt x="22" y="191"/>
                        <a:pt x="22" y="190"/>
                        <a:pt x="22" y="189"/>
                      </a:cubicBezTo>
                      <a:cubicBezTo>
                        <a:pt x="22" y="188"/>
                        <a:pt x="22" y="187"/>
                        <a:pt x="22" y="186"/>
                      </a:cubicBezTo>
                      <a:lnTo>
                        <a:pt x="22" y="124"/>
                      </a:lnTo>
                      <a:lnTo>
                        <a:pt x="22" y="124"/>
                      </a:lnTo>
                      <a:close/>
                      <a:moveTo>
                        <a:pt x="371" y="74"/>
                      </a:moveTo>
                      <a:lnTo>
                        <a:pt x="371" y="74"/>
                      </a:lnTo>
                      <a:cubicBezTo>
                        <a:pt x="359" y="23"/>
                        <a:pt x="267" y="0"/>
                        <a:pt x="186" y="0"/>
                      </a:cubicBezTo>
                      <a:cubicBezTo>
                        <a:pt x="106" y="0"/>
                        <a:pt x="13" y="23"/>
                        <a:pt x="2" y="74"/>
                      </a:cubicBezTo>
                      <a:cubicBezTo>
                        <a:pt x="1" y="76"/>
                        <a:pt x="0" y="78"/>
                        <a:pt x="0" y="80"/>
                      </a:cubicBezTo>
                      <a:lnTo>
                        <a:pt x="0" y="394"/>
                      </a:lnTo>
                      <a:cubicBezTo>
                        <a:pt x="0" y="396"/>
                        <a:pt x="1" y="398"/>
                        <a:pt x="1" y="399"/>
                      </a:cubicBezTo>
                      <a:cubicBezTo>
                        <a:pt x="10" y="442"/>
                        <a:pt x="88" y="474"/>
                        <a:pt x="186" y="474"/>
                      </a:cubicBezTo>
                      <a:cubicBezTo>
                        <a:pt x="284" y="474"/>
                        <a:pt x="362" y="443"/>
                        <a:pt x="371" y="399"/>
                      </a:cubicBezTo>
                      <a:cubicBezTo>
                        <a:pt x="372" y="398"/>
                        <a:pt x="372" y="396"/>
                        <a:pt x="372" y="394"/>
                      </a:cubicBezTo>
                      <a:lnTo>
                        <a:pt x="372" y="80"/>
                      </a:lnTo>
                      <a:cubicBezTo>
                        <a:pt x="372" y="78"/>
                        <a:pt x="372" y="76"/>
                        <a:pt x="371" y="74"/>
                      </a:cubicBezTo>
                      <a:close/>
                    </a:path>
                  </a:pathLst>
                </a:custGeom>
                <a:grpFill/>
                <a:ln w="0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mc:AlternateContent xmlns:mc="http://schemas.openxmlformats.org/markup-compatibility/2006" xmlns:p14="http://schemas.microsoft.com/office/powerpoint/2010/main">
              <mc:Choice Requires="p14">
                <p:contentPart p14:bwMode="auto" r:id="rId2">
                  <p14:nvContentPartPr>
                    <p14:cNvPr id="104" name="Ink 103">
                      <a:extLst>
                        <a:ext uri="{FF2B5EF4-FFF2-40B4-BE49-F238E27FC236}">
                          <a16:creationId xmlns:a16="http://schemas.microsoft.com/office/drawing/2014/main" id="{E078870F-499B-C621-AE3F-4E556006407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0034444" y="4162579"/>
                    <a:ext cx="347" cy="360"/>
                  </p14:xfrm>
                </p:contentPart>
              </mc:Choice>
              <mc:Fallback xmlns="">
                <p:pic>
                  <p:nvPicPr>
                    <p:cNvPr id="238" name="Ink 237"/>
                    <p:cNvPicPr/>
                    <p:nvPr/>
                  </p:nvPicPr>
                  <p:blipFill>
                    <a:blip r:embed="rId11"/>
                    <a:stretch>
                      <a:fillRect/>
                    </a:stretch>
                  </p:blipFill>
                  <p:spPr>
                    <a:xfrm>
                      <a:off x="10028198" y="4156099"/>
                      <a:ext cx="12839" cy="133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</p:grpSp>
        <p:sp>
          <p:nvSpPr>
            <p:cNvPr id="100" name="Freeform 683">
              <a:extLst>
                <a:ext uri="{FF2B5EF4-FFF2-40B4-BE49-F238E27FC236}">
                  <a16:creationId xmlns:a16="http://schemas.microsoft.com/office/drawing/2014/main" id="{D7054204-65D0-E0FA-1D56-2D6B622C3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256" y="1170650"/>
              <a:ext cx="236492" cy="218161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6073C184-3023-C665-CA00-8880C962CBF7}"/>
              </a:ext>
            </a:extLst>
          </p:cNvPr>
          <p:cNvCxnSpPr>
            <a:cxnSpLocks/>
          </p:cNvCxnSpPr>
          <p:nvPr/>
        </p:nvCxnSpPr>
        <p:spPr>
          <a:xfrm>
            <a:off x="5323782" y="2723130"/>
            <a:ext cx="0" cy="28800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pic>
        <p:nvPicPr>
          <p:cNvPr id="106" name="Picture 105">
            <a:extLst>
              <a:ext uri="{FF2B5EF4-FFF2-40B4-BE49-F238E27FC236}">
                <a16:creationId xmlns:a16="http://schemas.microsoft.com/office/drawing/2014/main" id="{FD1445A9-38F2-B9B3-0DE6-7C89BD928ED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168" y="1334765"/>
            <a:ext cx="419989" cy="281050"/>
          </a:xfrm>
          <a:prstGeom prst="rect">
            <a:avLst/>
          </a:prstGeom>
        </p:spPr>
      </p:pic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22D68D08-380D-7D9C-6E49-72B0B97FCB5F}"/>
              </a:ext>
            </a:extLst>
          </p:cNvPr>
          <p:cNvCxnSpPr/>
          <p:nvPr/>
        </p:nvCxnSpPr>
        <p:spPr>
          <a:xfrm>
            <a:off x="5344858" y="1652274"/>
            <a:ext cx="205" cy="205618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1FDE81DE-B092-3EDA-46DA-0D2C7C1481C2}"/>
              </a:ext>
            </a:extLst>
          </p:cNvPr>
          <p:cNvSpPr txBox="1"/>
          <p:nvPr/>
        </p:nvSpPr>
        <p:spPr>
          <a:xfrm>
            <a:off x="645247" y="1437064"/>
            <a:ext cx="2880000" cy="338554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vropské centrální prvky C-IT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9699CEA-023C-146C-BFB9-E397EFA34EB6}"/>
              </a:ext>
            </a:extLst>
          </p:cNvPr>
          <p:cNvSpPr txBox="1"/>
          <p:nvPr/>
        </p:nvSpPr>
        <p:spPr>
          <a:xfrm>
            <a:off x="655600" y="1987944"/>
            <a:ext cx="3240000" cy="83099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entrální prvky C-ITS provozované v ŘSD (bezpečnostní vrstva a integrační platforma) 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2F68A26-0833-A3B2-625A-AE93FB1C390D}"/>
              </a:ext>
            </a:extLst>
          </p:cNvPr>
          <p:cNvSpPr txBox="1"/>
          <p:nvPr/>
        </p:nvSpPr>
        <p:spPr>
          <a:xfrm>
            <a:off x="7356324" y="1297072"/>
            <a:ext cx="4392000" cy="14514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 defTabSz="914377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200" b="0">
                <a:cs typeface="Calibri Light" panose="020F0302020204030204" pitchFamily="34" charset="0"/>
              </a:defRPr>
            </a:lvl1pPr>
            <a:lvl2pPr marL="139697" indent="-139697" defTabSz="914377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300" b="0">
                <a:latin typeface="+mj-lt"/>
                <a:cs typeface="Calibri Light" panose="020F0302020204030204" pitchFamily="34" charset="0"/>
              </a:defRPr>
            </a:lvl2pPr>
            <a:lvl3pPr marL="304792" indent="-139697" defTabSz="914377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 sz="1300">
                <a:cs typeface="Calibri Light" panose="020F0302020204030204" pitchFamily="34" charset="0"/>
              </a:defRPr>
            </a:lvl3pPr>
            <a:lvl4pPr marL="469888" indent="-139697" defTabSz="914377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 sz="1300" baseline="0">
                <a:cs typeface="Calibri Light" panose="020F0302020204030204" pitchFamily="34" charset="0"/>
              </a:defRPr>
            </a:lvl4pPr>
            <a:lvl5pPr marL="634984" indent="-139697" defTabSz="798493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/>
              <a:defRPr sz="1300" baseline="0">
                <a:cs typeface="Calibri Light" panose="020F0302020204030204" pitchFamily="34" charset="0"/>
              </a:defRPr>
            </a:lvl5pPr>
            <a:lvl6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6pPr>
            <a:lvl7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/>
            </a:lvl7pPr>
            <a:lvl8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8pPr>
            <a:lvl9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9pPr>
          </a:lstStyle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Prostředí Centrálních prvků C-ITS, které zajišťuje bezpečnou a interoperabilní vzájemnou výměnu informací</a:t>
            </a:r>
            <a:r>
              <a:rPr lang="cs-CZ" sz="1600" b="1" kern="0" dirty="0">
                <a:solidFill>
                  <a:prstClr val="black"/>
                </a:solidFill>
              </a:rPr>
              <a:t>.</a:t>
            </a:r>
          </a:p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Centrální prvky jsou připraveny k napojení C-ITS systémů-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3C9699D-B8F7-6DC7-BF1B-6D2F3BF00116}"/>
              </a:ext>
            </a:extLst>
          </p:cNvPr>
          <p:cNvSpPr/>
          <p:nvPr/>
        </p:nvSpPr>
        <p:spPr>
          <a:xfrm>
            <a:off x="3016209" y="5780007"/>
            <a:ext cx="2752913" cy="203712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ITS-G5 komunikac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6CBBF0E-2A2D-FF2D-9C1C-CD8B06549900}"/>
              </a:ext>
            </a:extLst>
          </p:cNvPr>
          <p:cNvSpPr/>
          <p:nvPr/>
        </p:nvSpPr>
        <p:spPr>
          <a:xfrm>
            <a:off x="5829902" y="5776577"/>
            <a:ext cx="934691" cy="248779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Mobilní síť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E9B5B13B-86D4-5F60-E207-8BCD5349D34D}"/>
              </a:ext>
            </a:extLst>
          </p:cNvPr>
          <p:cNvGrpSpPr/>
          <p:nvPr/>
        </p:nvGrpSpPr>
        <p:grpSpPr>
          <a:xfrm>
            <a:off x="3912039" y="3806302"/>
            <a:ext cx="509024" cy="617009"/>
            <a:chOff x="4494098" y="6217765"/>
            <a:chExt cx="549861" cy="682181"/>
          </a:xfrm>
          <a:solidFill>
            <a:sysClr val="windowText" lastClr="000000"/>
          </a:solidFill>
        </p:grpSpPr>
        <p:grpSp>
          <p:nvGrpSpPr>
            <p:cNvPr id="114" name="Group 210">
              <a:extLst>
                <a:ext uri="{FF2B5EF4-FFF2-40B4-BE49-F238E27FC236}">
                  <a16:creationId xmlns:a16="http://schemas.microsoft.com/office/drawing/2014/main" id="{7D18AC0B-B689-1509-7E0E-B1DE354B41F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94098" y="6575946"/>
              <a:ext cx="379722" cy="324000"/>
              <a:chOff x="2004" y="804"/>
              <a:chExt cx="184" cy="157"/>
            </a:xfrm>
            <a:grpFill/>
          </p:grpSpPr>
          <p:sp>
            <p:nvSpPr>
              <p:cNvPr id="116" name="Freeform 212">
                <a:extLst>
                  <a:ext uri="{FF2B5EF4-FFF2-40B4-BE49-F238E27FC236}">
                    <a16:creationId xmlns:a16="http://schemas.microsoft.com/office/drawing/2014/main" id="{58BC097B-EE8E-9069-D76D-1468C1736C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4" y="890"/>
                <a:ext cx="184" cy="71"/>
              </a:xfrm>
              <a:custGeom>
                <a:avLst/>
                <a:gdLst>
                  <a:gd name="T0" fmla="*/ 245 w 277"/>
                  <a:gd name="T1" fmla="*/ 107 h 107"/>
                  <a:gd name="T2" fmla="*/ 32 w 277"/>
                  <a:gd name="T3" fmla="*/ 107 h 107"/>
                  <a:gd name="T4" fmla="*/ 0 w 277"/>
                  <a:gd name="T5" fmla="*/ 75 h 107"/>
                  <a:gd name="T6" fmla="*/ 0 w 277"/>
                  <a:gd name="T7" fmla="*/ 33 h 107"/>
                  <a:gd name="T8" fmla="*/ 32 w 277"/>
                  <a:gd name="T9" fmla="*/ 0 h 107"/>
                  <a:gd name="T10" fmla="*/ 245 w 277"/>
                  <a:gd name="T11" fmla="*/ 0 h 107"/>
                  <a:gd name="T12" fmla="*/ 277 w 277"/>
                  <a:gd name="T13" fmla="*/ 33 h 107"/>
                  <a:gd name="T14" fmla="*/ 277 w 277"/>
                  <a:gd name="T15" fmla="*/ 75 h 107"/>
                  <a:gd name="T16" fmla="*/ 245 w 277"/>
                  <a:gd name="T17" fmla="*/ 107 h 107"/>
                  <a:gd name="T18" fmla="*/ 32 w 277"/>
                  <a:gd name="T19" fmla="*/ 22 h 107"/>
                  <a:gd name="T20" fmla="*/ 21 w 277"/>
                  <a:gd name="T21" fmla="*/ 33 h 107"/>
                  <a:gd name="T22" fmla="*/ 21 w 277"/>
                  <a:gd name="T23" fmla="*/ 75 h 107"/>
                  <a:gd name="T24" fmla="*/ 32 w 277"/>
                  <a:gd name="T25" fmla="*/ 86 h 107"/>
                  <a:gd name="T26" fmla="*/ 245 w 277"/>
                  <a:gd name="T27" fmla="*/ 86 h 107"/>
                  <a:gd name="T28" fmla="*/ 256 w 277"/>
                  <a:gd name="T29" fmla="*/ 75 h 107"/>
                  <a:gd name="T30" fmla="*/ 256 w 277"/>
                  <a:gd name="T31" fmla="*/ 33 h 107"/>
                  <a:gd name="T32" fmla="*/ 245 w 277"/>
                  <a:gd name="T33" fmla="*/ 22 h 107"/>
                  <a:gd name="T34" fmla="*/ 32 w 277"/>
                  <a:gd name="T35" fmla="*/ 2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7" h="107">
                    <a:moveTo>
                      <a:pt x="245" y="107"/>
                    </a:moveTo>
                    <a:cubicBezTo>
                      <a:pt x="32" y="107"/>
                      <a:pt x="32" y="107"/>
                      <a:pt x="32" y="107"/>
                    </a:cubicBezTo>
                    <a:cubicBezTo>
                      <a:pt x="14" y="107"/>
                      <a:pt x="0" y="93"/>
                      <a:pt x="0" y="7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4" y="0"/>
                      <a:pt x="32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63" y="0"/>
                      <a:pt x="277" y="15"/>
                      <a:pt x="277" y="33"/>
                    </a:cubicBezTo>
                    <a:cubicBezTo>
                      <a:pt x="277" y="75"/>
                      <a:pt x="277" y="75"/>
                      <a:pt x="277" y="75"/>
                    </a:cubicBezTo>
                    <a:cubicBezTo>
                      <a:pt x="277" y="93"/>
                      <a:pt x="263" y="107"/>
                      <a:pt x="245" y="107"/>
                    </a:cubicBezTo>
                    <a:close/>
                    <a:moveTo>
                      <a:pt x="32" y="22"/>
                    </a:moveTo>
                    <a:cubicBezTo>
                      <a:pt x="26" y="22"/>
                      <a:pt x="21" y="27"/>
                      <a:pt x="21" y="33"/>
                    </a:cubicBezTo>
                    <a:cubicBezTo>
                      <a:pt x="21" y="75"/>
                      <a:pt x="21" y="75"/>
                      <a:pt x="21" y="75"/>
                    </a:cubicBezTo>
                    <a:cubicBezTo>
                      <a:pt x="21" y="81"/>
                      <a:pt x="26" y="86"/>
                      <a:pt x="32" y="86"/>
                    </a:cubicBezTo>
                    <a:cubicBezTo>
                      <a:pt x="245" y="86"/>
                      <a:pt x="245" y="86"/>
                      <a:pt x="245" y="86"/>
                    </a:cubicBezTo>
                    <a:cubicBezTo>
                      <a:pt x="251" y="86"/>
                      <a:pt x="256" y="81"/>
                      <a:pt x="256" y="75"/>
                    </a:cubicBezTo>
                    <a:cubicBezTo>
                      <a:pt x="256" y="33"/>
                      <a:pt x="256" y="33"/>
                      <a:pt x="256" y="33"/>
                    </a:cubicBezTo>
                    <a:cubicBezTo>
                      <a:pt x="256" y="27"/>
                      <a:pt x="251" y="22"/>
                      <a:pt x="245" y="22"/>
                    </a:cubicBezTo>
                    <a:lnTo>
                      <a:pt x="3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213">
                <a:extLst>
                  <a:ext uri="{FF2B5EF4-FFF2-40B4-BE49-F238E27FC236}">
                    <a16:creationId xmlns:a16="http://schemas.microsoft.com/office/drawing/2014/main" id="{F7A1C22A-F3A0-8AA9-F29A-FF9910DBB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" y="804"/>
                <a:ext cx="43" cy="114"/>
              </a:xfrm>
              <a:custGeom>
                <a:avLst/>
                <a:gdLst>
                  <a:gd name="T0" fmla="*/ 11 w 65"/>
                  <a:gd name="T1" fmla="*/ 172 h 172"/>
                  <a:gd name="T2" fmla="*/ 0 w 65"/>
                  <a:gd name="T3" fmla="*/ 161 h 172"/>
                  <a:gd name="T4" fmla="*/ 0 w 65"/>
                  <a:gd name="T5" fmla="*/ 140 h 172"/>
                  <a:gd name="T6" fmla="*/ 1 w 65"/>
                  <a:gd name="T7" fmla="*/ 137 h 172"/>
                  <a:gd name="T8" fmla="*/ 43 w 65"/>
                  <a:gd name="T9" fmla="*/ 9 h 172"/>
                  <a:gd name="T10" fmla="*/ 57 w 65"/>
                  <a:gd name="T11" fmla="*/ 2 h 172"/>
                  <a:gd name="T12" fmla="*/ 63 w 65"/>
                  <a:gd name="T13" fmla="*/ 15 h 172"/>
                  <a:gd name="T14" fmla="*/ 21 w 65"/>
                  <a:gd name="T15" fmla="*/ 142 h 172"/>
                  <a:gd name="T16" fmla="*/ 21 w 65"/>
                  <a:gd name="T17" fmla="*/ 161 h 172"/>
                  <a:gd name="T18" fmla="*/ 11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11" y="172"/>
                    </a:moveTo>
                    <a:cubicBezTo>
                      <a:pt x="5" y="172"/>
                      <a:pt x="0" y="167"/>
                      <a:pt x="0" y="161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39"/>
                      <a:pt x="0" y="138"/>
                      <a:pt x="1" y="137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5" y="3"/>
                      <a:pt x="51" y="0"/>
                      <a:pt x="57" y="2"/>
                    </a:cubicBezTo>
                    <a:cubicBezTo>
                      <a:pt x="62" y="4"/>
                      <a:pt x="65" y="10"/>
                      <a:pt x="63" y="15"/>
                    </a:cubicBezTo>
                    <a:cubicBezTo>
                      <a:pt x="21" y="142"/>
                      <a:pt x="21" y="142"/>
                      <a:pt x="21" y="142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21" y="167"/>
                      <a:pt x="17" y="172"/>
                      <a:pt x="11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214">
                <a:extLst>
                  <a:ext uri="{FF2B5EF4-FFF2-40B4-BE49-F238E27FC236}">
                    <a16:creationId xmlns:a16="http://schemas.microsoft.com/office/drawing/2014/main" id="{CA5BDDEB-6306-6169-138B-DDCB4F029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804"/>
                <a:ext cx="43" cy="114"/>
              </a:xfrm>
              <a:custGeom>
                <a:avLst/>
                <a:gdLst>
                  <a:gd name="T0" fmla="*/ 55 w 65"/>
                  <a:gd name="T1" fmla="*/ 172 h 172"/>
                  <a:gd name="T2" fmla="*/ 44 w 65"/>
                  <a:gd name="T3" fmla="*/ 161 h 172"/>
                  <a:gd name="T4" fmla="*/ 44 w 65"/>
                  <a:gd name="T5" fmla="*/ 142 h 172"/>
                  <a:gd name="T6" fmla="*/ 2 w 65"/>
                  <a:gd name="T7" fmla="*/ 15 h 172"/>
                  <a:gd name="T8" fmla="*/ 9 w 65"/>
                  <a:gd name="T9" fmla="*/ 2 h 172"/>
                  <a:gd name="T10" fmla="*/ 22 w 65"/>
                  <a:gd name="T11" fmla="*/ 9 h 172"/>
                  <a:gd name="T12" fmla="*/ 65 w 65"/>
                  <a:gd name="T13" fmla="*/ 137 h 172"/>
                  <a:gd name="T14" fmla="*/ 65 w 65"/>
                  <a:gd name="T15" fmla="*/ 140 h 172"/>
                  <a:gd name="T16" fmla="*/ 65 w 65"/>
                  <a:gd name="T17" fmla="*/ 161 h 172"/>
                  <a:gd name="T18" fmla="*/ 55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55" y="172"/>
                    </a:moveTo>
                    <a:cubicBezTo>
                      <a:pt x="49" y="172"/>
                      <a:pt x="44" y="167"/>
                      <a:pt x="44" y="161"/>
                    </a:cubicBezTo>
                    <a:cubicBezTo>
                      <a:pt x="44" y="142"/>
                      <a:pt x="44" y="142"/>
                      <a:pt x="44" y="14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0"/>
                      <a:pt x="3" y="4"/>
                      <a:pt x="9" y="2"/>
                    </a:cubicBezTo>
                    <a:cubicBezTo>
                      <a:pt x="14" y="0"/>
                      <a:pt x="20" y="3"/>
                      <a:pt x="22" y="9"/>
                    </a:cubicBezTo>
                    <a:cubicBezTo>
                      <a:pt x="65" y="137"/>
                      <a:pt x="65" y="137"/>
                      <a:pt x="65" y="137"/>
                    </a:cubicBezTo>
                    <a:cubicBezTo>
                      <a:pt x="65" y="138"/>
                      <a:pt x="65" y="139"/>
                      <a:pt x="65" y="140"/>
                    </a:cubicBezTo>
                    <a:cubicBezTo>
                      <a:pt x="65" y="161"/>
                      <a:pt x="65" y="161"/>
                      <a:pt x="65" y="161"/>
                    </a:cubicBezTo>
                    <a:cubicBezTo>
                      <a:pt x="65" y="167"/>
                      <a:pt x="61" y="172"/>
                      <a:pt x="55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215">
                <a:extLst>
                  <a:ext uri="{FF2B5EF4-FFF2-40B4-BE49-F238E27FC236}">
                    <a16:creationId xmlns:a16="http://schemas.microsoft.com/office/drawing/2014/main" id="{84DD645D-FDF8-F869-027B-2538EB0E02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3" y="805"/>
                <a:ext cx="127" cy="14"/>
              </a:xfrm>
              <a:custGeom>
                <a:avLst/>
                <a:gdLst>
                  <a:gd name="T0" fmla="*/ 181 w 192"/>
                  <a:gd name="T1" fmla="*/ 22 h 22"/>
                  <a:gd name="T2" fmla="*/ 10 w 192"/>
                  <a:gd name="T3" fmla="*/ 22 h 22"/>
                  <a:gd name="T4" fmla="*/ 0 w 192"/>
                  <a:gd name="T5" fmla="*/ 11 h 22"/>
                  <a:gd name="T6" fmla="*/ 10 w 192"/>
                  <a:gd name="T7" fmla="*/ 0 h 22"/>
                  <a:gd name="T8" fmla="*/ 181 w 192"/>
                  <a:gd name="T9" fmla="*/ 0 h 22"/>
                  <a:gd name="T10" fmla="*/ 192 w 192"/>
                  <a:gd name="T11" fmla="*/ 11 h 22"/>
                  <a:gd name="T12" fmla="*/ 181 w 19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2" h="22">
                    <a:moveTo>
                      <a:pt x="181" y="22"/>
                    </a:moveTo>
                    <a:cubicBezTo>
                      <a:pt x="10" y="22"/>
                      <a:pt x="10" y="22"/>
                      <a:pt x="10" y="22"/>
                    </a:cubicBezTo>
                    <a:cubicBezTo>
                      <a:pt x="4" y="22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87" y="0"/>
                      <a:pt x="192" y="5"/>
                      <a:pt x="192" y="11"/>
                    </a:cubicBezTo>
                    <a:cubicBezTo>
                      <a:pt x="192" y="17"/>
                      <a:pt x="187" y="22"/>
                      <a:pt x="18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216">
                <a:extLst>
                  <a:ext uri="{FF2B5EF4-FFF2-40B4-BE49-F238E27FC236}">
                    <a16:creationId xmlns:a16="http://schemas.microsoft.com/office/drawing/2014/main" id="{A804D638-BE4C-44BA-6466-237791AC0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6" y="918"/>
                <a:ext cx="14" cy="14"/>
              </a:xfrm>
              <a:custGeom>
                <a:avLst/>
                <a:gdLst>
                  <a:gd name="T0" fmla="*/ 11 w 22"/>
                  <a:gd name="T1" fmla="*/ 22 h 22"/>
                  <a:gd name="T2" fmla="*/ 3 w 22"/>
                  <a:gd name="T3" fmla="*/ 19 h 22"/>
                  <a:gd name="T4" fmla="*/ 1 w 22"/>
                  <a:gd name="T5" fmla="*/ 16 h 22"/>
                  <a:gd name="T6" fmla="*/ 0 w 22"/>
                  <a:gd name="T7" fmla="*/ 12 h 22"/>
                  <a:gd name="T8" fmla="*/ 1 w 22"/>
                  <a:gd name="T9" fmla="*/ 8 h 22"/>
                  <a:gd name="T10" fmla="*/ 3 w 22"/>
                  <a:gd name="T11" fmla="*/ 4 h 22"/>
                  <a:gd name="T12" fmla="*/ 5 w 22"/>
                  <a:gd name="T13" fmla="*/ 3 h 22"/>
                  <a:gd name="T14" fmla="*/ 7 w 22"/>
                  <a:gd name="T15" fmla="*/ 2 h 22"/>
                  <a:gd name="T16" fmla="*/ 9 w 22"/>
                  <a:gd name="T17" fmla="*/ 1 h 22"/>
                  <a:gd name="T18" fmla="*/ 19 w 22"/>
                  <a:gd name="T19" fmla="*/ 4 h 22"/>
                  <a:gd name="T20" fmla="*/ 21 w 22"/>
                  <a:gd name="T21" fmla="*/ 8 h 22"/>
                  <a:gd name="T22" fmla="*/ 22 w 22"/>
                  <a:gd name="T23" fmla="*/ 12 h 22"/>
                  <a:gd name="T24" fmla="*/ 21 w 22"/>
                  <a:gd name="T25" fmla="*/ 16 h 22"/>
                  <a:gd name="T26" fmla="*/ 19 w 22"/>
                  <a:gd name="T27" fmla="*/ 19 h 22"/>
                  <a:gd name="T28" fmla="*/ 15 w 22"/>
                  <a:gd name="T29" fmla="*/ 21 h 22"/>
                  <a:gd name="T30" fmla="*/ 11 w 22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22">
                    <a:moveTo>
                      <a:pt x="11" y="22"/>
                    </a:moveTo>
                    <a:cubicBezTo>
                      <a:pt x="8" y="22"/>
                      <a:pt x="5" y="21"/>
                      <a:pt x="3" y="19"/>
                    </a:cubicBezTo>
                    <a:cubicBezTo>
                      <a:pt x="2" y="18"/>
                      <a:pt x="2" y="17"/>
                      <a:pt x="1" y="16"/>
                    </a:cubicBezTo>
                    <a:cubicBezTo>
                      <a:pt x="1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1" y="8"/>
                    </a:cubicBezTo>
                    <a:cubicBezTo>
                      <a:pt x="2" y="6"/>
                      <a:pt x="2" y="5"/>
                      <a:pt x="3" y="4"/>
                    </a:cubicBezTo>
                    <a:cubicBezTo>
                      <a:pt x="4" y="4"/>
                      <a:pt x="4" y="3"/>
                      <a:pt x="5" y="3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8" y="2"/>
                      <a:pt x="8" y="1"/>
                      <a:pt x="9" y="1"/>
                    </a:cubicBezTo>
                    <a:cubicBezTo>
                      <a:pt x="12" y="0"/>
                      <a:pt x="16" y="2"/>
                      <a:pt x="19" y="4"/>
                    </a:cubicBezTo>
                    <a:cubicBezTo>
                      <a:pt x="20" y="5"/>
                      <a:pt x="20" y="6"/>
                      <a:pt x="21" y="8"/>
                    </a:cubicBezTo>
                    <a:cubicBezTo>
                      <a:pt x="21" y="9"/>
                      <a:pt x="22" y="10"/>
                      <a:pt x="22" y="12"/>
                    </a:cubicBezTo>
                    <a:cubicBezTo>
                      <a:pt x="22" y="13"/>
                      <a:pt x="21" y="14"/>
                      <a:pt x="21" y="16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0"/>
                      <a:pt x="16" y="21"/>
                      <a:pt x="15" y="21"/>
                    </a:cubicBezTo>
                    <a:cubicBezTo>
                      <a:pt x="14" y="22"/>
                      <a:pt x="12" y="22"/>
                      <a:pt x="1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217">
                <a:extLst>
                  <a:ext uri="{FF2B5EF4-FFF2-40B4-BE49-F238E27FC236}">
                    <a16:creationId xmlns:a16="http://schemas.microsoft.com/office/drawing/2014/main" id="{AFABCF44-F0B0-DB23-82E7-00DDA009D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" y="918"/>
                <a:ext cx="14" cy="14"/>
              </a:xfrm>
              <a:custGeom>
                <a:avLst/>
                <a:gdLst>
                  <a:gd name="T0" fmla="*/ 10 w 21"/>
                  <a:gd name="T1" fmla="*/ 22 h 22"/>
                  <a:gd name="T2" fmla="*/ 6 w 21"/>
                  <a:gd name="T3" fmla="*/ 21 h 22"/>
                  <a:gd name="T4" fmla="*/ 3 w 21"/>
                  <a:gd name="T5" fmla="*/ 19 h 22"/>
                  <a:gd name="T6" fmla="*/ 1 w 21"/>
                  <a:gd name="T7" fmla="*/ 16 h 22"/>
                  <a:gd name="T8" fmla="*/ 0 w 21"/>
                  <a:gd name="T9" fmla="*/ 12 h 22"/>
                  <a:gd name="T10" fmla="*/ 1 w 21"/>
                  <a:gd name="T11" fmla="*/ 8 h 22"/>
                  <a:gd name="T12" fmla="*/ 3 w 21"/>
                  <a:gd name="T13" fmla="*/ 4 h 22"/>
                  <a:gd name="T14" fmla="*/ 12 w 21"/>
                  <a:gd name="T15" fmla="*/ 1 h 22"/>
                  <a:gd name="T16" fmla="*/ 14 w 21"/>
                  <a:gd name="T17" fmla="*/ 2 h 22"/>
                  <a:gd name="T18" fmla="*/ 16 w 21"/>
                  <a:gd name="T19" fmla="*/ 3 h 22"/>
                  <a:gd name="T20" fmla="*/ 18 w 21"/>
                  <a:gd name="T21" fmla="*/ 4 h 22"/>
                  <a:gd name="T22" fmla="*/ 20 w 21"/>
                  <a:gd name="T23" fmla="*/ 8 h 22"/>
                  <a:gd name="T24" fmla="*/ 21 w 21"/>
                  <a:gd name="T25" fmla="*/ 12 h 22"/>
                  <a:gd name="T26" fmla="*/ 20 w 21"/>
                  <a:gd name="T27" fmla="*/ 16 h 22"/>
                  <a:gd name="T28" fmla="*/ 18 w 21"/>
                  <a:gd name="T29" fmla="*/ 19 h 22"/>
                  <a:gd name="T30" fmla="*/ 10 w 21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22">
                    <a:moveTo>
                      <a:pt x="10" y="22"/>
                    </a:moveTo>
                    <a:cubicBezTo>
                      <a:pt x="9" y="22"/>
                      <a:pt x="8" y="22"/>
                      <a:pt x="6" y="21"/>
                    </a:cubicBezTo>
                    <a:cubicBezTo>
                      <a:pt x="5" y="21"/>
                      <a:pt x="4" y="20"/>
                      <a:pt x="3" y="19"/>
                    </a:cubicBezTo>
                    <a:cubicBezTo>
                      <a:pt x="2" y="18"/>
                      <a:pt x="1" y="17"/>
                      <a:pt x="1" y="16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5" y="2"/>
                      <a:pt x="9" y="0"/>
                      <a:pt x="12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5" y="2"/>
                      <a:pt x="16" y="2"/>
                      <a:pt x="16" y="3"/>
                    </a:cubicBezTo>
                    <a:cubicBezTo>
                      <a:pt x="17" y="3"/>
                      <a:pt x="17" y="4"/>
                      <a:pt x="18" y="4"/>
                    </a:cubicBezTo>
                    <a:cubicBezTo>
                      <a:pt x="19" y="5"/>
                      <a:pt x="20" y="6"/>
                      <a:pt x="20" y="8"/>
                    </a:cubicBezTo>
                    <a:cubicBezTo>
                      <a:pt x="21" y="9"/>
                      <a:pt x="21" y="10"/>
                      <a:pt x="21" y="12"/>
                    </a:cubicBezTo>
                    <a:cubicBezTo>
                      <a:pt x="21" y="13"/>
                      <a:pt x="21" y="14"/>
                      <a:pt x="20" y="16"/>
                    </a:cubicBezTo>
                    <a:cubicBezTo>
                      <a:pt x="20" y="17"/>
                      <a:pt x="19" y="18"/>
                      <a:pt x="18" y="19"/>
                    </a:cubicBezTo>
                    <a:cubicBezTo>
                      <a:pt x="16" y="21"/>
                      <a:pt x="13" y="22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5" name="Freeform 683">
              <a:extLst>
                <a:ext uri="{FF2B5EF4-FFF2-40B4-BE49-F238E27FC236}">
                  <a16:creationId xmlns:a16="http://schemas.microsoft.com/office/drawing/2014/main" id="{17C1FD98-744A-A891-4870-FEC2A444F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959" y="6217765"/>
              <a:ext cx="360000" cy="432000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Freeform 885">
            <a:extLst>
              <a:ext uri="{FF2B5EF4-FFF2-40B4-BE49-F238E27FC236}">
                <a16:creationId xmlns:a16="http://schemas.microsoft.com/office/drawing/2014/main" id="{EEAC3C97-12CB-580E-CCBF-923E9678701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55761" y="4911094"/>
            <a:ext cx="333922" cy="394637"/>
          </a:xfrm>
          <a:custGeom>
            <a:avLst/>
            <a:gdLst>
              <a:gd name="T0" fmla="*/ 234 w 256"/>
              <a:gd name="T1" fmla="*/ 171 h 310"/>
              <a:gd name="T2" fmla="*/ 208 w 256"/>
              <a:gd name="T3" fmla="*/ 160 h 310"/>
              <a:gd name="T4" fmla="*/ 200 w 256"/>
              <a:gd name="T5" fmla="*/ 133 h 310"/>
              <a:gd name="T6" fmla="*/ 96 w 256"/>
              <a:gd name="T7" fmla="*/ 107 h 310"/>
              <a:gd name="T8" fmla="*/ 53 w 256"/>
              <a:gd name="T9" fmla="*/ 136 h 310"/>
              <a:gd name="T10" fmla="*/ 32 w 256"/>
              <a:gd name="T11" fmla="*/ 160 h 310"/>
              <a:gd name="T12" fmla="*/ 25 w 256"/>
              <a:gd name="T13" fmla="*/ 179 h 310"/>
              <a:gd name="T14" fmla="*/ 0 w 256"/>
              <a:gd name="T15" fmla="*/ 245 h 310"/>
              <a:gd name="T16" fmla="*/ 10 w 256"/>
              <a:gd name="T17" fmla="*/ 265 h 310"/>
              <a:gd name="T18" fmla="*/ 21 w 256"/>
              <a:gd name="T19" fmla="*/ 310 h 310"/>
              <a:gd name="T20" fmla="*/ 74 w 256"/>
              <a:gd name="T21" fmla="*/ 299 h 310"/>
              <a:gd name="T22" fmla="*/ 128 w 256"/>
              <a:gd name="T23" fmla="*/ 288 h 310"/>
              <a:gd name="T24" fmla="*/ 181 w 256"/>
              <a:gd name="T25" fmla="*/ 299 h 310"/>
              <a:gd name="T26" fmla="*/ 234 w 256"/>
              <a:gd name="T27" fmla="*/ 310 h 310"/>
              <a:gd name="T28" fmla="*/ 245 w 256"/>
              <a:gd name="T29" fmla="*/ 265 h 310"/>
              <a:gd name="T30" fmla="*/ 256 w 256"/>
              <a:gd name="T31" fmla="*/ 245 h 310"/>
              <a:gd name="T32" fmla="*/ 230 w 256"/>
              <a:gd name="T33" fmla="*/ 179 h 310"/>
              <a:gd name="T34" fmla="*/ 160 w 256"/>
              <a:gd name="T35" fmla="*/ 128 h 310"/>
              <a:gd name="T36" fmla="*/ 189 w 256"/>
              <a:gd name="T37" fmla="*/ 171 h 310"/>
              <a:gd name="T38" fmla="*/ 73 w 256"/>
              <a:gd name="T39" fmla="*/ 144 h 310"/>
              <a:gd name="T40" fmla="*/ 53 w 256"/>
              <a:gd name="T41" fmla="*/ 288 h 310"/>
              <a:gd name="T42" fmla="*/ 32 w 256"/>
              <a:gd name="T43" fmla="*/ 277 h 310"/>
              <a:gd name="T44" fmla="*/ 53 w 256"/>
              <a:gd name="T45" fmla="*/ 288 h 310"/>
              <a:gd name="T46" fmla="*/ 21 w 256"/>
              <a:gd name="T47" fmla="*/ 224 h 310"/>
              <a:gd name="T48" fmla="*/ 202 w 256"/>
              <a:gd name="T49" fmla="*/ 192 h 310"/>
              <a:gd name="T50" fmla="*/ 234 w 256"/>
              <a:gd name="T51" fmla="*/ 245 h 310"/>
              <a:gd name="T52" fmla="*/ 21 w 256"/>
              <a:gd name="T53" fmla="*/ 245 h 310"/>
              <a:gd name="T54" fmla="*/ 202 w 256"/>
              <a:gd name="T55" fmla="*/ 288 h 310"/>
              <a:gd name="T56" fmla="*/ 224 w 256"/>
              <a:gd name="T57" fmla="*/ 277 h 310"/>
              <a:gd name="T58" fmla="*/ 160 w 256"/>
              <a:gd name="T59" fmla="*/ 224 h 310"/>
              <a:gd name="T60" fmla="*/ 106 w 256"/>
              <a:gd name="T61" fmla="*/ 235 h 310"/>
              <a:gd name="T62" fmla="*/ 106 w 256"/>
              <a:gd name="T63" fmla="*/ 214 h 310"/>
              <a:gd name="T64" fmla="*/ 160 w 256"/>
              <a:gd name="T65" fmla="*/ 224 h 310"/>
              <a:gd name="T66" fmla="*/ 57 w 256"/>
              <a:gd name="T67" fmla="*/ 239 h 310"/>
              <a:gd name="T68" fmla="*/ 57 w 256"/>
              <a:gd name="T69" fmla="*/ 218 h 310"/>
              <a:gd name="T70" fmla="*/ 208 w 256"/>
              <a:gd name="T71" fmla="*/ 228 h 310"/>
              <a:gd name="T72" fmla="*/ 188 w 256"/>
              <a:gd name="T73" fmla="*/ 228 h 310"/>
              <a:gd name="T74" fmla="*/ 208 w 256"/>
              <a:gd name="T75" fmla="*/ 228 h 310"/>
              <a:gd name="T76" fmla="*/ 13 w 256"/>
              <a:gd name="T77" fmla="*/ 55 h 310"/>
              <a:gd name="T78" fmla="*/ 242 w 256"/>
              <a:gd name="T79" fmla="*/ 55 h 310"/>
              <a:gd name="T80" fmla="*/ 226 w 256"/>
              <a:gd name="T81" fmla="*/ 69 h 310"/>
              <a:gd name="T82" fmla="*/ 29 w 256"/>
              <a:gd name="T83" fmla="*/ 69 h 310"/>
              <a:gd name="T84" fmla="*/ 14 w 256"/>
              <a:gd name="T85" fmla="*/ 70 h 310"/>
              <a:gd name="T86" fmla="*/ 211 w 256"/>
              <a:gd name="T87" fmla="*/ 104 h 310"/>
              <a:gd name="T88" fmla="*/ 128 w 256"/>
              <a:gd name="T89" fmla="*/ 70 h 310"/>
              <a:gd name="T90" fmla="*/ 51 w 256"/>
              <a:gd name="T91" fmla="*/ 107 h 310"/>
              <a:gd name="T92" fmla="*/ 43 w 256"/>
              <a:gd name="T93" fmla="*/ 89 h 310"/>
              <a:gd name="T94" fmla="*/ 212 w 256"/>
              <a:gd name="T95" fmla="*/ 89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6" h="310">
                <a:moveTo>
                  <a:pt x="230" y="179"/>
                </a:moveTo>
                <a:cubicBezTo>
                  <a:pt x="233" y="177"/>
                  <a:pt x="234" y="175"/>
                  <a:pt x="234" y="171"/>
                </a:cubicBezTo>
                <a:cubicBezTo>
                  <a:pt x="234" y="165"/>
                  <a:pt x="230" y="160"/>
                  <a:pt x="224" y="160"/>
                </a:cubicBezTo>
                <a:cubicBezTo>
                  <a:pt x="208" y="160"/>
                  <a:pt x="208" y="160"/>
                  <a:pt x="208" y="160"/>
                </a:cubicBezTo>
                <a:cubicBezTo>
                  <a:pt x="202" y="136"/>
                  <a:pt x="202" y="136"/>
                  <a:pt x="202" y="136"/>
                </a:cubicBezTo>
                <a:cubicBezTo>
                  <a:pt x="202" y="135"/>
                  <a:pt x="201" y="134"/>
                  <a:pt x="200" y="133"/>
                </a:cubicBezTo>
                <a:cubicBezTo>
                  <a:pt x="198" y="130"/>
                  <a:pt x="180" y="107"/>
                  <a:pt x="160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75" y="107"/>
                  <a:pt x="57" y="130"/>
                  <a:pt x="55" y="133"/>
                </a:cubicBezTo>
                <a:cubicBezTo>
                  <a:pt x="54" y="134"/>
                  <a:pt x="54" y="135"/>
                  <a:pt x="53" y="136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26" y="160"/>
                  <a:pt x="21" y="165"/>
                  <a:pt x="21" y="171"/>
                </a:cubicBezTo>
                <a:cubicBezTo>
                  <a:pt x="21" y="175"/>
                  <a:pt x="23" y="177"/>
                  <a:pt x="25" y="179"/>
                </a:cubicBezTo>
                <a:cubicBezTo>
                  <a:pt x="10" y="189"/>
                  <a:pt x="0" y="206"/>
                  <a:pt x="0" y="22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48"/>
                  <a:pt x="0" y="255"/>
                  <a:pt x="6" y="262"/>
                </a:cubicBezTo>
                <a:cubicBezTo>
                  <a:pt x="8" y="263"/>
                  <a:pt x="9" y="264"/>
                  <a:pt x="10" y="265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5"/>
                  <a:pt x="15" y="310"/>
                  <a:pt x="21" y="310"/>
                </a:cubicBezTo>
                <a:cubicBezTo>
                  <a:pt x="64" y="310"/>
                  <a:pt x="64" y="310"/>
                  <a:pt x="64" y="310"/>
                </a:cubicBezTo>
                <a:cubicBezTo>
                  <a:pt x="70" y="310"/>
                  <a:pt x="74" y="305"/>
                  <a:pt x="74" y="299"/>
                </a:cubicBezTo>
                <a:cubicBezTo>
                  <a:pt x="74" y="286"/>
                  <a:pt x="74" y="286"/>
                  <a:pt x="74" y="286"/>
                </a:cubicBezTo>
                <a:cubicBezTo>
                  <a:pt x="90" y="287"/>
                  <a:pt x="107" y="288"/>
                  <a:pt x="128" y="288"/>
                </a:cubicBezTo>
                <a:cubicBezTo>
                  <a:pt x="148" y="288"/>
                  <a:pt x="165" y="287"/>
                  <a:pt x="181" y="286"/>
                </a:cubicBezTo>
                <a:cubicBezTo>
                  <a:pt x="181" y="299"/>
                  <a:pt x="181" y="299"/>
                  <a:pt x="181" y="299"/>
                </a:cubicBezTo>
                <a:cubicBezTo>
                  <a:pt x="181" y="305"/>
                  <a:pt x="186" y="310"/>
                  <a:pt x="192" y="310"/>
                </a:cubicBezTo>
                <a:cubicBezTo>
                  <a:pt x="234" y="310"/>
                  <a:pt x="234" y="310"/>
                  <a:pt x="234" y="310"/>
                </a:cubicBezTo>
                <a:cubicBezTo>
                  <a:pt x="240" y="310"/>
                  <a:pt x="245" y="305"/>
                  <a:pt x="245" y="299"/>
                </a:cubicBezTo>
                <a:cubicBezTo>
                  <a:pt x="245" y="265"/>
                  <a:pt x="245" y="265"/>
                  <a:pt x="245" y="265"/>
                </a:cubicBezTo>
                <a:cubicBezTo>
                  <a:pt x="246" y="264"/>
                  <a:pt x="248" y="263"/>
                  <a:pt x="249" y="262"/>
                </a:cubicBezTo>
                <a:cubicBezTo>
                  <a:pt x="255" y="255"/>
                  <a:pt x="256" y="248"/>
                  <a:pt x="256" y="245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56" y="206"/>
                  <a:pt x="245" y="189"/>
                  <a:pt x="230" y="179"/>
                </a:cubicBezTo>
                <a:close/>
                <a:moveTo>
                  <a:pt x="96" y="128"/>
                </a:moveTo>
                <a:cubicBezTo>
                  <a:pt x="160" y="128"/>
                  <a:pt x="160" y="128"/>
                  <a:pt x="160" y="128"/>
                </a:cubicBezTo>
                <a:cubicBezTo>
                  <a:pt x="166" y="128"/>
                  <a:pt x="176" y="137"/>
                  <a:pt x="182" y="144"/>
                </a:cubicBezTo>
                <a:cubicBezTo>
                  <a:pt x="189" y="171"/>
                  <a:pt x="189" y="171"/>
                  <a:pt x="189" y="171"/>
                </a:cubicBezTo>
                <a:cubicBezTo>
                  <a:pt x="67" y="171"/>
                  <a:pt x="67" y="171"/>
                  <a:pt x="67" y="171"/>
                </a:cubicBezTo>
                <a:cubicBezTo>
                  <a:pt x="73" y="144"/>
                  <a:pt x="73" y="144"/>
                  <a:pt x="73" y="144"/>
                </a:cubicBezTo>
                <a:cubicBezTo>
                  <a:pt x="79" y="137"/>
                  <a:pt x="89" y="128"/>
                  <a:pt x="96" y="128"/>
                </a:cubicBezTo>
                <a:close/>
                <a:moveTo>
                  <a:pt x="53" y="288"/>
                </a:moveTo>
                <a:cubicBezTo>
                  <a:pt x="32" y="288"/>
                  <a:pt x="32" y="288"/>
                  <a:pt x="32" y="288"/>
                </a:cubicBezTo>
                <a:cubicBezTo>
                  <a:pt x="32" y="277"/>
                  <a:pt x="32" y="277"/>
                  <a:pt x="32" y="277"/>
                </a:cubicBezTo>
                <a:cubicBezTo>
                  <a:pt x="38" y="279"/>
                  <a:pt x="45" y="281"/>
                  <a:pt x="53" y="282"/>
                </a:cubicBezTo>
                <a:lnTo>
                  <a:pt x="53" y="288"/>
                </a:lnTo>
                <a:close/>
                <a:moveTo>
                  <a:pt x="21" y="245"/>
                </a:moveTo>
                <a:cubicBezTo>
                  <a:pt x="21" y="224"/>
                  <a:pt x="21" y="224"/>
                  <a:pt x="21" y="224"/>
                </a:cubicBezTo>
                <a:cubicBezTo>
                  <a:pt x="21" y="208"/>
                  <a:pt x="37" y="192"/>
                  <a:pt x="53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19" y="192"/>
                  <a:pt x="234" y="208"/>
                  <a:pt x="234" y="224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3" y="247"/>
                  <a:pt x="222" y="267"/>
                  <a:pt x="128" y="267"/>
                </a:cubicBezTo>
                <a:cubicBezTo>
                  <a:pt x="34" y="267"/>
                  <a:pt x="22" y="247"/>
                  <a:pt x="21" y="245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202" y="282"/>
                  <a:pt x="202" y="282"/>
                  <a:pt x="202" y="282"/>
                </a:cubicBezTo>
                <a:cubicBezTo>
                  <a:pt x="210" y="281"/>
                  <a:pt x="217" y="279"/>
                  <a:pt x="224" y="277"/>
                </a:cubicBezTo>
                <a:lnTo>
                  <a:pt x="224" y="288"/>
                </a:lnTo>
                <a:close/>
                <a:moveTo>
                  <a:pt x="160" y="224"/>
                </a:moveTo>
                <a:cubicBezTo>
                  <a:pt x="160" y="230"/>
                  <a:pt x="155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30"/>
                  <a:pt x="96" y="224"/>
                </a:cubicBezTo>
                <a:cubicBezTo>
                  <a:pt x="96" y="218"/>
                  <a:pt x="100" y="214"/>
                  <a:pt x="106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55" y="214"/>
                  <a:pt x="160" y="218"/>
                  <a:pt x="160" y="224"/>
                </a:cubicBezTo>
                <a:close/>
                <a:moveTo>
                  <a:pt x="67" y="228"/>
                </a:moveTo>
                <a:cubicBezTo>
                  <a:pt x="67" y="234"/>
                  <a:pt x="63" y="239"/>
                  <a:pt x="57" y="239"/>
                </a:cubicBezTo>
                <a:cubicBezTo>
                  <a:pt x="52" y="239"/>
                  <a:pt x="47" y="234"/>
                  <a:pt x="47" y="228"/>
                </a:cubicBezTo>
                <a:cubicBezTo>
                  <a:pt x="47" y="223"/>
                  <a:pt x="52" y="218"/>
                  <a:pt x="57" y="218"/>
                </a:cubicBezTo>
                <a:cubicBezTo>
                  <a:pt x="63" y="218"/>
                  <a:pt x="67" y="223"/>
                  <a:pt x="67" y="228"/>
                </a:cubicBezTo>
                <a:close/>
                <a:moveTo>
                  <a:pt x="208" y="228"/>
                </a:moveTo>
                <a:cubicBezTo>
                  <a:pt x="208" y="234"/>
                  <a:pt x="204" y="239"/>
                  <a:pt x="198" y="239"/>
                </a:cubicBezTo>
                <a:cubicBezTo>
                  <a:pt x="193" y="239"/>
                  <a:pt x="188" y="234"/>
                  <a:pt x="188" y="228"/>
                </a:cubicBezTo>
                <a:cubicBezTo>
                  <a:pt x="188" y="223"/>
                  <a:pt x="193" y="218"/>
                  <a:pt x="198" y="218"/>
                </a:cubicBezTo>
                <a:cubicBezTo>
                  <a:pt x="204" y="218"/>
                  <a:pt x="208" y="223"/>
                  <a:pt x="208" y="228"/>
                </a:cubicBezTo>
                <a:close/>
                <a:moveTo>
                  <a:pt x="14" y="70"/>
                </a:moveTo>
                <a:cubicBezTo>
                  <a:pt x="10" y="66"/>
                  <a:pt x="9" y="60"/>
                  <a:pt x="13" y="55"/>
                </a:cubicBezTo>
                <a:cubicBezTo>
                  <a:pt x="43" y="20"/>
                  <a:pt x="84" y="0"/>
                  <a:pt x="128" y="0"/>
                </a:cubicBezTo>
                <a:cubicBezTo>
                  <a:pt x="171" y="0"/>
                  <a:pt x="212" y="20"/>
                  <a:pt x="242" y="55"/>
                </a:cubicBezTo>
                <a:cubicBezTo>
                  <a:pt x="246" y="60"/>
                  <a:pt x="246" y="66"/>
                  <a:pt x="241" y="70"/>
                </a:cubicBezTo>
                <a:cubicBezTo>
                  <a:pt x="237" y="74"/>
                  <a:pt x="230" y="74"/>
                  <a:pt x="226" y="69"/>
                </a:cubicBezTo>
                <a:cubicBezTo>
                  <a:pt x="200" y="39"/>
                  <a:pt x="165" y="22"/>
                  <a:pt x="128" y="22"/>
                </a:cubicBezTo>
                <a:cubicBezTo>
                  <a:pt x="90" y="22"/>
                  <a:pt x="55" y="39"/>
                  <a:pt x="29" y="69"/>
                </a:cubicBezTo>
                <a:cubicBezTo>
                  <a:pt x="27" y="72"/>
                  <a:pt x="24" y="73"/>
                  <a:pt x="21" y="73"/>
                </a:cubicBezTo>
                <a:cubicBezTo>
                  <a:pt x="19" y="73"/>
                  <a:pt x="16" y="72"/>
                  <a:pt x="14" y="70"/>
                </a:cubicBezTo>
                <a:close/>
                <a:moveTo>
                  <a:pt x="212" y="89"/>
                </a:moveTo>
                <a:cubicBezTo>
                  <a:pt x="216" y="94"/>
                  <a:pt x="215" y="101"/>
                  <a:pt x="211" y="104"/>
                </a:cubicBezTo>
                <a:cubicBezTo>
                  <a:pt x="206" y="108"/>
                  <a:pt x="200" y="108"/>
                  <a:pt x="196" y="103"/>
                </a:cubicBezTo>
                <a:cubicBezTo>
                  <a:pt x="178" y="82"/>
                  <a:pt x="153" y="70"/>
                  <a:pt x="128" y="70"/>
                </a:cubicBezTo>
                <a:cubicBezTo>
                  <a:pt x="102" y="70"/>
                  <a:pt x="78" y="82"/>
                  <a:pt x="60" y="103"/>
                </a:cubicBezTo>
                <a:cubicBezTo>
                  <a:pt x="57" y="106"/>
                  <a:pt x="54" y="107"/>
                  <a:pt x="51" y="107"/>
                </a:cubicBezTo>
                <a:cubicBezTo>
                  <a:pt x="49" y="107"/>
                  <a:pt x="47" y="106"/>
                  <a:pt x="45" y="104"/>
                </a:cubicBezTo>
                <a:cubicBezTo>
                  <a:pt x="40" y="101"/>
                  <a:pt x="40" y="94"/>
                  <a:pt x="43" y="89"/>
                </a:cubicBezTo>
                <a:cubicBezTo>
                  <a:pt x="66" y="63"/>
                  <a:pt x="96" y="49"/>
                  <a:pt x="128" y="49"/>
                </a:cubicBezTo>
                <a:cubicBezTo>
                  <a:pt x="160" y="49"/>
                  <a:pt x="190" y="63"/>
                  <a:pt x="212" y="89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881B1CAE-C43C-3E58-0563-F049A08CFA23}"/>
              </a:ext>
            </a:extLst>
          </p:cNvPr>
          <p:cNvCxnSpPr>
            <a:cxnSpLocks/>
          </p:cNvCxnSpPr>
          <p:nvPr/>
        </p:nvCxnSpPr>
        <p:spPr>
          <a:xfrm>
            <a:off x="4121597" y="4619704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E8BECB62-438B-265B-61C5-23F8A97143CB}"/>
              </a:ext>
            </a:extLst>
          </p:cNvPr>
          <p:cNvCxnSpPr>
            <a:cxnSpLocks/>
          </p:cNvCxnSpPr>
          <p:nvPr/>
        </p:nvCxnSpPr>
        <p:spPr>
          <a:xfrm>
            <a:off x="4042405" y="3647015"/>
            <a:ext cx="196" cy="190573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25" name="Freeform 252">
            <a:extLst>
              <a:ext uri="{FF2B5EF4-FFF2-40B4-BE49-F238E27FC236}">
                <a16:creationId xmlns:a16="http://schemas.microsoft.com/office/drawing/2014/main" id="{DD3A6AD6-19C6-E9C3-BE80-84A8EFDCE42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31170" y="3185019"/>
            <a:ext cx="350284" cy="394636"/>
          </a:xfrm>
          <a:custGeom>
            <a:avLst/>
            <a:gdLst>
              <a:gd name="T0" fmla="*/ 2147483646 w 235"/>
              <a:gd name="T1" fmla="*/ 2147483646 h 320"/>
              <a:gd name="T2" fmla="*/ 2147483646 w 235"/>
              <a:gd name="T3" fmla="*/ 2147483646 h 320"/>
              <a:gd name="T4" fmla="*/ 2147483646 w 235"/>
              <a:gd name="T5" fmla="*/ 2147483646 h 320"/>
              <a:gd name="T6" fmla="*/ 2147483646 w 235"/>
              <a:gd name="T7" fmla="*/ 2147483646 h 320"/>
              <a:gd name="T8" fmla="*/ 2147483646 w 235"/>
              <a:gd name="T9" fmla="*/ 2147483646 h 320"/>
              <a:gd name="T10" fmla="*/ 2147483646 w 235"/>
              <a:gd name="T11" fmla="*/ 2147483646 h 320"/>
              <a:gd name="T12" fmla="*/ 2147483646 w 235"/>
              <a:gd name="T13" fmla="*/ 2147483646 h 320"/>
              <a:gd name="T14" fmla="*/ 2147483646 w 235"/>
              <a:gd name="T15" fmla="*/ 2147483646 h 320"/>
              <a:gd name="T16" fmla="*/ 2147483646 w 235"/>
              <a:gd name="T17" fmla="*/ 2147483646 h 320"/>
              <a:gd name="T18" fmla="*/ 2147483646 w 235"/>
              <a:gd name="T19" fmla="*/ 2147483646 h 320"/>
              <a:gd name="T20" fmla="*/ 2147483646 w 235"/>
              <a:gd name="T21" fmla="*/ 2147483646 h 320"/>
              <a:gd name="T22" fmla="*/ 2147483646 w 235"/>
              <a:gd name="T23" fmla="*/ 2147483646 h 320"/>
              <a:gd name="T24" fmla="*/ 2147483646 w 235"/>
              <a:gd name="T25" fmla="*/ 2147483646 h 320"/>
              <a:gd name="T26" fmla="*/ 2147483646 w 235"/>
              <a:gd name="T27" fmla="*/ 2147483646 h 320"/>
              <a:gd name="T28" fmla="*/ 2147483646 w 235"/>
              <a:gd name="T29" fmla="*/ 2147483646 h 320"/>
              <a:gd name="T30" fmla="*/ 2147483646 w 235"/>
              <a:gd name="T31" fmla="*/ 2147483646 h 320"/>
              <a:gd name="T32" fmla="*/ 2147483646 w 235"/>
              <a:gd name="T33" fmla="*/ 2147483646 h 320"/>
              <a:gd name="T34" fmla="*/ 2147483646 w 235"/>
              <a:gd name="T35" fmla="*/ 2147483646 h 320"/>
              <a:gd name="T36" fmla="*/ 2147483646 w 235"/>
              <a:gd name="T37" fmla="*/ 2147483646 h 320"/>
              <a:gd name="T38" fmla="*/ 2147483646 w 235"/>
              <a:gd name="T39" fmla="*/ 2147483646 h 320"/>
              <a:gd name="T40" fmla="*/ 2147483646 w 235"/>
              <a:gd name="T41" fmla="*/ 2147483646 h 320"/>
              <a:gd name="T42" fmla="*/ 2147483646 w 235"/>
              <a:gd name="T43" fmla="*/ 2147483646 h 320"/>
              <a:gd name="T44" fmla="*/ 2147483646 w 235"/>
              <a:gd name="T45" fmla="*/ 2147483646 h 320"/>
              <a:gd name="T46" fmla="*/ 2147483646 w 235"/>
              <a:gd name="T47" fmla="*/ 2147483646 h 320"/>
              <a:gd name="T48" fmla="*/ 2147483646 w 235"/>
              <a:gd name="T49" fmla="*/ 2147483646 h 320"/>
              <a:gd name="T50" fmla="*/ 2147483646 w 235"/>
              <a:gd name="T51" fmla="*/ 2147483646 h 320"/>
              <a:gd name="T52" fmla="*/ 2147483646 w 235"/>
              <a:gd name="T53" fmla="*/ 2147483646 h 320"/>
              <a:gd name="T54" fmla="*/ 2147483646 w 235"/>
              <a:gd name="T55" fmla="*/ 2147483646 h 320"/>
              <a:gd name="T56" fmla="*/ 2147483646 w 235"/>
              <a:gd name="T57" fmla="*/ 2147483646 h 320"/>
              <a:gd name="T58" fmla="*/ 2147483646 w 235"/>
              <a:gd name="T59" fmla="*/ 2147483646 h 320"/>
              <a:gd name="T60" fmla="*/ 2147483646 w 235"/>
              <a:gd name="T61" fmla="*/ 2147483646 h 320"/>
              <a:gd name="T62" fmla="*/ 2147483646 w 235"/>
              <a:gd name="T63" fmla="*/ 2147483646 h 320"/>
              <a:gd name="T64" fmla="*/ 2147483646 w 235"/>
              <a:gd name="T65" fmla="*/ 2147483646 h 320"/>
              <a:gd name="T66" fmla="*/ 2147483646 w 235"/>
              <a:gd name="T67" fmla="*/ 2147483646 h 320"/>
              <a:gd name="T68" fmla="*/ 2147483646 w 235"/>
              <a:gd name="T69" fmla="*/ 2147483646 h 320"/>
              <a:gd name="T70" fmla="*/ 2147483646 w 235"/>
              <a:gd name="T71" fmla="*/ 2147483646 h 320"/>
              <a:gd name="T72" fmla="*/ 2147483646 w 235"/>
              <a:gd name="T73" fmla="*/ 2147483646 h 320"/>
              <a:gd name="T74" fmla="*/ 2147483646 w 235"/>
              <a:gd name="T75" fmla="*/ 2147483646 h 320"/>
              <a:gd name="T76" fmla="*/ 2147483646 w 235"/>
              <a:gd name="T77" fmla="*/ 2147483646 h 320"/>
              <a:gd name="T78" fmla="*/ 2147483646 w 235"/>
              <a:gd name="T79" fmla="*/ 2147483646 h 320"/>
              <a:gd name="T80" fmla="*/ 2147483646 w 235"/>
              <a:gd name="T81" fmla="*/ 2147483646 h 320"/>
              <a:gd name="T82" fmla="*/ 2147483646 w 235"/>
              <a:gd name="T83" fmla="*/ 2147483646 h 320"/>
              <a:gd name="T84" fmla="*/ 2147483646 w 235"/>
              <a:gd name="T85" fmla="*/ 2147483646 h 320"/>
              <a:gd name="T86" fmla="*/ 2147483646 w 235"/>
              <a:gd name="T87" fmla="*/ 2147483646 h 320"/>
              <a:gd name="T88" fmla="*/ 2147483646 w 235"/>
              <a:gd name="T89" fmla="*/ 2147483646 h 320"/>
              <a:gd name="T90" fmla="*/ 2147483646 w 235"/>
              <a:gd name="T91" fmla="*/ 2147483646 h 320"/>
              <a:gd name="T92" fmla="*/ 2147483646 w 235"/>
              <a:gd name="T93" fmla="*/ 2147483646 h 320"/>
              <a:gd name="T94" fmla="*/ 2147483646 w 235"/>
              <a:gd name="T95" fmla="*/ 2147483646 h 320"/>
              <a:gd name="T96" fmla="*/ 2147483646 w 235"/>
              <a:gd name="T97" fmla="*/ 2147483646 h 320"/>
              <a:gd name="T98" fmla="*/ 2147483646 w 235"/>
              <a:gd name="T99" fmla="*/ 2147483646 h 320"/>
              <a:gd name="T100" fmla="*/ 0 w 235"/>
              <a:gd name="T101" fmla="*/ 2147483646 h 320"/>
              <a:gd name="T102" fmla="*/ 2147483646 w 235"/>
              <a:gd name="T103" fmla="*/ 2147483646 h 320"/>
              <a:gd name="T104" fmla="*/ 2147483646 w 235"/>
              <a:gd name="T105" fmla="*/ 2147483646 h 320"/>
              <a:gd name="T106" fmla="*/ 2147483646 w 235"/>
              <a:gd name="T107" fmla="*/ 2147483646 h 320"/>
              <a:gd name="T108" fmla="*/ 2147483646 w 235"/>
              <a:gd name="T109" fmla="*/ 2147483646 h 320"/>
              <a:gd name="T110" fmla="*/ 2147483646 w 235"/>
              <a:gd name="T111" fmla="*/ 2147483646 h 320"/>
              <a:gd name="T112" fmla="*/ 2147483646 w 235"/>
              <a:gd name="T113" fmla="*/ 2147483646 h 32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ysClr val="windowText" lastClr="000000"/>
          </a:solidFill>
          <a:ln w="3175">
            <a:noFill/>
            <a:round/>
            <a:headEnd/>
            <a:tailEnd/>
          </a:ln>
        </p:spPr>
        <p:txBody>
          <a:bodyPr/>
          <a:lstStyle>
            <a:defPPr>
              <a:defRPr lang="cs-CZ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6BC00E9-1E84-C5BC-00F1-9ECDD3E9E50D}"/>
              </a:ext>
            </a:extLst>
          </p:cNvPr>
          <p:cNvCxnSpPr>
            <a:cxnSpLocks/>
          </p:cNvCxnSpPr>
          <p:nvPr/>
        </p:nvCxnSpPr>
        <p:spPr>
          <a:xfrm flipH="1">
            <a:off x="3822721" y="4619704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E9AB009-84A2-A49F-1D92-3DB823677264}"/>
              </a:ext>
            </a:extLst>
          </p:cNvPr>
          <p:cNvGrpSpPr/>
          <p:nvPr/>
        </p:nvGrpSpPr>
        <p:grpSpPr>
          <a:xfrm>
            <a:off x="5436243" y="3815983"/>
            <a:ext cx="509024" cy="617009"/>
            <a:chOff x="4494098" y="6217765"/>
            <a:chExt cx="549861" cy="682181"/>
          </a:xfrm>
          <a:solidFill>
            <a:sysClr val="windowText" lastClr="000000"/>
          </a:solidFill>
        </p:grpSpPr>
        <p:grpSp>
          <p:nvGrpSpPr>
            <p:cNvPr id="128" name="Group 210">
              <a:extLst>
                <a:ext uri="{FF2B5EF4-FFF2-40B4-BE49-F238E27FC236}">
                  <a16:creationId xmlns:a16="http://schemas.microsoft.com/office/drawing/2014/main" id="{BB50C7D6-B50E-FFB7-3809-1E058A52166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94098" y="6575946"/>
              <a:ext cx="379722" cy="324000"/>
              <a:chOff x="2004" y="804"/>
              <a:chExt cx="184" cy="157"/>
            </a:xfrm>
            <a:grpFill/>
          </p:grpSpPr>
          <p:sp>
            <p:nvSpPr>
              <p:cNvPr id="130" name="Freeform 212">
                <a:extLst>
                  <a:ext uri="{FF2B5EF4-FFF2-40B4-BE49-F238E27FC236}">
                    <a16:creationId xmlns:a16="http://schemas.microsoft.com/office/drawing/2014/main" id="{DD119FD5-ED0D-4B6F-50D5-E3881E5BA3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4" y="890"/>
                <a:ext cx="184" cy="71"/>
              </a:xfrm>
              <a:custGeom>
                <a:avLst/>
                <a:gdLst>
                  <a:gd name="T0" fmla="*/ 245 w 277"/>
                  <a:gd name="T1" fmla="*/ 107 h 107"/>
                  <a:gd name="T2" fmla="*/ 32 w 277"/>
                  <a:gd name="T3" fmla="*/ 107 h 107"/>
                  <a:gd name="T4" fmla="*/ 0 w 277"/>
                  <a:gd name="T5" fmla="*/ 75 h 107"/>
                  <a:gd name="T6" fmla="*/ 0 w 277"/>
                  <a:gd name="T7" fmla="*/ 33 h 107"/>
                  <a:gd name="T8" fmla="*/ 32 w 277"/>
                  <a:gd name="T9" fmla="*/ 0 h 107"/>
                  <a:gd name="T10" fmla="*/ 245 w 277"/>
                  <a:gd name="T11" fmla="*/ 0 h 107"/>
                  <a:gd name="T12" fmla="*/ 277 w 277"/>
                  <a:gd name="T13" fmla="*/ 33 h 107"/>
                  <a:gd name="T14" fmla="*/ 277 w 277"/>
                  <a:gd name="T15" fmla="*/ 75 h 107"/>
                  <a:gd name="T16" fmla="*/ 245 w 277"/>
                  <a:gd name="T17" fmla="*/ 107 h 107"/>
                  <a:gd name="T18" fmla="*/ 32 w 277"/>
                  <a:gd name="T19" fmla="*/ 22 h 107"/>
                  <a:gd name="T20" fmla="*/ 21 w 277"/>
                  <a:gd name="T21" fmla="*/ 33 h 107"/>
                  <a:gd name="T22" fmla="*/ 21 w 277"/>
                  <a:gd name="T23" fmla="*/ 75 h 107"/>
                  <a:gd name="T24" fmla="*/ 32 w 277"/>
                  <a:gd name="T25" fmla="*/ 86 h 107"/>
                  <a:gd name="T26" fmla="*/ 245 w 277"/>
                  <a:gd name="T27" fmla="*/ 86 h 107"/>
                  <a:gd name="T28" fmla="*/ 256 w 277"/>
                  <a:gd name="T29" fmla="*/ 75 h 107"/>
                  <a:gd name="T30" fmla="*/ 256 w 277"/>
                  <a:gd name="T31" fmla="*/ 33 h 107"/>
                  <a:gd name="T32" fmla="*/ 245 w 277"/>
                  <a:gd name="T33" fmla="*/ 22 h 107"/>
                  <a:gd name="T34" fmla="*/ 32 w 277"/>
                  <a:gd name="T35" fmla="*/ 2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7" h="107">
                    <a:moveTo>
                      <a:pt x="245" y="107"/>
                    </a:moveTo>
                    <a:cubicBezTo>
                      <a:pt x="32" y="107"/>
                      <a:pt x="32" y="107"/>
                      <a:pt x="32" y="107"/>
                    </a:cubicBezTo>
                    <a:cubicBezTo>
                      <a:pt x="14" y="107"/>
                      <a:pt x="0" y="93"/>
                      <a:pt x="0" y="7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4" y="0"/>
                      <a:pt x="32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63" y="0"/>
                      <a:pt x="277" y="15"/>
                      <a:pt x="277" y="33"/>
                    </a:cubicBezTo>
                    <a:cubicBezTo>
                      <a:pt x="277" y="75"/>
                      <a:pt x="277" y="75"/>
                      <a:pt x="277" y="75"/>
                    </a:cubicBezTo>
                    <a:cubicBezTo>
                      <a:pt x="277" y="93"/>
                      <a:pt x="263" y="107"/>
                      <a:pt x="245" y="107"/>
                    </a:cubicBezTo>
                    <a:close/>
                    <a:moveTo>
                      <a:pt x="32" y="22"/>
                    </a:moveTo>
                    <a:cubicBezTo>
                      <a:pt x="26" y="22"/>
                      <a:pt x="21" y="27"/>
                      <a:pt x="21" y="33"/>
                    </a:cubicBezTo>
                    <a:cubicBezTo>
                      <a:pt x="21" y="75"/>
                      <a:pt x="21" y="75"/>
                      <a:pt x="21" y="75"/>
                    </a:cubicBezTo>
                    <a:cubicBezTo>
                      <a:pt x="21" y="81"/>
                      <a:pt x="26" y="86"/>
                      <a:pt x="32" y="86"/>
                    </a:cubicBezTo>
                    <a:cubicBezTo>
                      <a:pt x="245" y="86"/>
                      <a:pt x="245" y="86"/>
                      <a:pt x="245" y="86"/>
                    </a:cubicBezTo>
                    <a:cubicBezTo>
                      <a:pt x="251" y="86"/>
                      <a:pt x="256" y="81"/>
                      <a:pt x="256" y="75"/>
                    </a:cubicBezTo>
                    <a:cubicBezTo>
                      <a:pt x="256" y="33"/>
                      <a:pt x="256" y="33"/>
                      <a:pt x="256" y="33"/>
                    </a:cubicBezTo>
                    <a:cubicBezTo>
                      <a:pt x="256" y="27"/>
                      <a:pt x="251" y="22"/>
                      <a:pt x="245" y="22"/>
                    </a:cubicBezTo>
                    <a:lnTo>
                      <a:pt x="3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 213">
                <a:extLst>
                  <a:ext uri="{FF2B5EF4-FFF2-40B4-BE49-F238E27FC236}">
                    <a16:creationId xmlns:a16="http://schemas.microsoft.com/office/drawing/2014/main" id="{B06A33C4-3846-990C-D4BA-FE33688B5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" y="804"/>
                <a:ext cx="43" cy="114"/>
              </a:xfrm>
              <a:custGeom>
                <a:avLst/>
                <a:gdLst>
                  <a:gd name="T0" fmla="*/ 11 w 65"/>
                  <a:gd name="T1" fmla="*/ 172 h 172"/>
                  <a:gd name="T2" fmla="*/ 0 w 65"/>
                  <a:gd name="T3" fmla="*/ 161 h 172"/>
                  <a:gd name="T4" fmla="*/ 0 w 65"/>
                  <a:gd name="T5" fmla="*/ 140 h 172"/>
                  <a:gd name="T6" fmla="*/ 1 w 65"/>
                  <a:gd name="T7" fmla="*/ 137 h 172"/>
                  <a:gd name="T8" fmla="*/ 43 w 65"/>
                  <a:gd name="T9" fmla="*/ 9 h 172"/>
                  <a:gd name="T10" fmla="*/ 57 w 65"/>
                  <a:gd name="T11" fmla="*/ 2 h 172"/>
                  <a:gd name="T12" fmla="*/ 63 w 65"/>
                  <a:gd name="T13" fmla="*/ 15 h 172"/>
                  <a:gd name="T14" fmla="*/ 21 w 65"/>
                  <a:gd name="T15" fmla="*/ 142 h 172"/>
                  <a:gd name="T16" fmla="*/ 21 w 65"/>
                  <a:gd name="T17" fmla="*/ 161 h 172"/>
                  <a:gd name="T18" fmla="*/ 11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11" y="172"/>
                    </a:moveTo>
                    <a:cubicBezTo>
                      <a:pt x="5" y="172"/>
                      <a:pt x="0" y="167"/>
                      <a:pt x="0" y="161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39"/>
                      <a:pt x="0" y="138"/>
                      <a:pt x="1" y="137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5" y="3"/>
                      <a:pt x="51" y="0"/>
                      <a:pt x="57" y="2"/>
                    </a:cubicBezTo>
                    <a:cubicBezTo>
                      <a:pt x="62" y="4"/>
                      <a:pt x="65" y="10"/>
                      <a:pt x="63" y="15"/>
                    </a:cubicBezTo>
                    <a:cubicBezTo>
                      <a:pt x="21" y="142"/>
                      <a:pt x="21" y="142"/>
                      <a:pt x="21" y="142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21" y="167"/>
                      <a:pt x="17" y="172"/>
                      <a:pt x="11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 214">
                <a:extLst>
                  <a:ext uri="{FF2B5EF4-FFF2-40B4-BE49-F238E27FC236}">
                    <a16:creationId xmlns:a16="http://schemas.microsoft.com/office/drawing/2014/main" id="{E70E2FD9-6C77-4FEB-37AE-CE6386D3B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804"/>
                <a:ext cx="43" cy="114"/>
              </a:xfrm>
              <a:custGeom>
                <a:avLst/>
                <a:gdLst>
                  <a:gd name="T0" fmla="*/ 55 w 65"/>
                  <a:gd name="T1" fmla="*/ 172 h 172"/>
                  <a:gd name="T2" fmla="*/ 44 w 65"/>
                  <a:gd name="T3" fmla="*/ 161 h 172"/>
                  <a:gd name="T4" fmla="*/ 44 w 65"/>
                  <a:gd name="T5" fmla="*/ 142 h 172"/>
                  <a:gd name="T6" fmla="*/ 2 w 65"/>
                  <a:gd name="T7" fmla="*/ 15 h 172"/>
                  <a:gd name="T8" fmla="*/ 9 w 65"/>
                  <a:gd name="T9" fmla="*/ 2 h 172"/>
                  <a:gd name="T10" fmla="*/ 22 w 65"/>
                  <a:gd name="T11" fmla="*/ 9 h 172"/>
                  <a:gd name="T12" fmla="*/ 65 w 65"/>
                  <a:gd name="T13" fmla="*/ 137 h 172"/>
                  <a:gd name="T14" fmla="*/ 65 w 65"/>
                  <a:gd name="T15" fmla="*/ 140 h 172"/>
                  <a:gd name="T16" fmla="*/ 65 w 65"/>
                  <a:gd name="T17" fmla="*/ 161 h 172"/>
                  <a:gd name="T18" fmla="*/ 55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55" y="172"/>
                    </a:moveTo>
                    <a:cubicBezTo>
                      <a:pt x="49" y="172"/>
                      <a:pt x="44" y="167"/>
                      <a:pt x="44" y="161"/>
                    </a:cubicBezTo>
                    <a:cubicBezTo>
                      <a:pt x="44" y="142"/>
                      <a:pt x="44" y="142"/>
                      <a:pt x="44" y="14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0"/>
                      <a:pt x="3" y="4"/>
                      <a:pt x="9" y="2"/>
                    </a:cubicBezTo>
                    <a:cubicBezTo>
                      <a:pt x="14" y="0"/>
                      <a:pt x="20" y="3"/>
                      <a:pt x="22" y="9"/>
                    </a:cubicBezTo>
                    <a:cubicBezTo>
                      <a:pt x="65" y="137"/>
                      <a:pt x="65" y="137"/>
                      <a:pt x="65" y="137"/>
                    </a:cubicBezTo>
                    <a:cubicBezTo>
                      <a:pt x="65" y="138"/>
                      <a:pt x="65" y="139"/>
                      <a:pt x="65" y="140"/>
                    </a:cubicBezTo>
                    <a:cubicBezTo>
                      <a:pt x="65" y="161"/>
                      <a:pt x="65" y="161"/>
                      <a:pt x="65" y="161"/>
                    </a:cubicBezTo>
                    <a:cubicBezTo>
                      <a:pt x="65" y="167"/>
                      <a:pt x="61" y="172"/>
                      <a:pt x="55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 215">
                <a:extLst>
                  <a:ext uri="{FF2B5EF4-FFF2-40B4-BE49-F238E27FC236}">
                    <a16:creationId xmlns:a16="http://schemas.microsoft.com/office/drawing/2014/main" id="{C9C5F15D-061E-46DB-1EEA-EE0739F0C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3" y="805"/>
                <a:ext cx="127" cy="14"/>
              </a:xfrm>
              <a:custGeom>
                <a:avLst/>
                <a:gdLst>
                  <a:gd name="T0" fmla="*/ 181 w 192"/>
                  <a:gd name="T1" fmla="*/ 22 h 22"/>
                  <a:gd name="T2" fmla="*/ 10 w 192"/>
                  <a:gd name="T3" fmla="*/ 22 h 22"/>
                  <a:gd name="T4" fmla="*/ 0 w 192"/>
                  <a:gd name="T5" fmla="*/ 11 h 22"/>
                  <a:gd name="T6" fmla="*/ 10 w 192"/>
                  <a:gd name="T7" fmla="*/ 0 h 22"/>
                  <a:gd name="T8" fmla="*/ 181 w 192"/>
                  <a:gd name="T9" fmla="*/ 0 h 22"/>
                  <a:gd name="T10" fmla="*/ 192 w 192"/>
                  <a:gd name="T11" fmla="*/ 11 h 22"/>
                  <a:gd name="T12" fmla="*/ 181 w 19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2" h="22">
                    <a:moveTo>
                      <a:pt x="181" y="22"/>
                    </a:moveTo>
                    <a:cubicBezTo>
                      <a:pt x="10" y="22"/>
                      <a:pt x="10" y="22"/>
                      <a:pt x="10" y="22"/>
                    </a:cubicBezTo>
                    <a:cubicBezTo>
                      <a:pt x="4" y="22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87" y="0"/>
                      <a:pt x="192" y="5"/>
                      <a:pt x="192" y="11"/>
                    </a:cubicBezTo>
                    <a:cubicBezTo>
                      <a:pt x="192" y="17"/>
                      <a:pt x="187" y="22"/>
                      <a:pt x="18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eform 216">
                <a:extLst>
                  <a:ext uri="{FF2B5EF4-FFF2-40B4-BE49-F238E27FC236}">
                    <a16:creationId xmlns:a16="http://schemas.microsoft.com/office/drawing/2014/main" id="{46773BC1-6C5E-81B0-BD5B-30D710362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6" y="918"/>
                <a:ext cx="14" cy="14"/>
              </a:xfrm>
              <a:custGeom>
                <a:avLst/>
                <a:gdLst>
                  <a:gd name="T0" fmla="*/ 11 w 22"/>
                  <a:gd name="T1" fmla="*/ 22 h 22"/>
                  <a:gd name="T2" fmla="*/ 3 w 22"/>
                  <a:gd name="T3" fmla="*/ 19 h 22"/>
                  <a:gd name="T4" fmla="*/ 1 w 22"/>
                  <a:gd name="T5" fmla="*/ 16 h 22"/>
                  <a:gd name="T6" fmla="*/ 0 w 22"/>
                  <a:gd name="T7" fmla="*/ 12 h 22"/>
                  <a:gd name="T8" fmla="*/ 1 w 22"/>
                  <a:gd name="T9" fmla="*/ 8 h 22"/>
                  <a:gd name="T10" fmla="*/ 3 w 22"/>
                  <a:gd name="T11" fmla="*/ 4 h 22"/>
                  <a:gd name="T12" fmla="*/ 5 w 22"/>
                  <a:gd name="T13" fmla="*/ 3 h 22"/>
                  <a:gd name="T14" fmla="*/ 7 w 22"/>
                  <a:gd name="T15" fmla="*/ 2 h 22"/>
                  <a:gd name="T16" fmla="*/ 9 w 22"/>
                  <a:gd name="T17" fmla="*/ 1 h 22"/>
                  <a:gd name="T18" fmla="*/ 19 w 22"/>
                  <a:gd name="T19" fmla="*/ 4 h 22"/>
                  <a:gd name="T20" fmla="*/ 21 w 22"/>
                  <a:gd name="T21" fmla="*/ 8 h 22"/>
                  <a:gd name="T22" fmla="*/ 22 w 22"/>
                  <a:gd name="T23" fmla="*/ 12 h 22"/>
                  <a:gd name="T24" fmla="*/ 21 w 22"/>
                  <a:gd name="T25" fmla="*/ 16 h 22"/>
                  <a:gd name="T26" fmla="*/ 19 w 22"/>
                  <a:gd name="T27" fmla="*/ 19 h 22"/>
                  <a:gd name="T28" fmla="*/ 15 w 22"/>
                  <a:gd name="T29" fmla="*/ 21 h 22"/>
                  <a:gd name="T30" fmla="*/ 11 w 22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22">
                    <a:moveTo>
                      <a:pt x="11" y="22"/>
                    </a:moveTo>
                    <a:cubicBezTo>
                      <a:pt x="8" y="22"/>
                      <a:pt x="5" y="21"/>
                      <a:pt x="3" y="19"/>
                    </a:cubicBezTo>
                    <a:cubicBezTo>
                      <a:pt x="2" y="18"/>
                      <a:pt x="2" y="17"/>
                      <a:pt x="1" y="16"/>
                    </a:cubicBezTo>
                    <a:cubicBezTo>
                      <a:pt x="1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1" y="8"/>
                    </a:cubicBezTo>
                    <a:cubicBezTo>
                      <a:pt x="2" y="6"/>
                      <a:pt x="2" y="5"/>
                      <a:pt x="3" y="4"/>
                    </a:cubicBezTo>
                    <a:cubicBezTo>
                      <a:pt x="4" y="4"/>
                      <a:pt x="4" y="3"/>
                      <a:pt x="5" y="3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8" y="2"/>
                      <a:pt x="8" y="1"/>
                      <a:pt x="9" y="1"/>
                    </a:cubicBezTo>
                    <a:cubicBezTo>
                      <a:pt x="12" y="0"/>
                      <a:pt x="16" y="2"/>
                      <a:pt x="19" y="4"/>
                    </a:cubicBezTo>
                    <a:cubicBezTo>
                      <a:pt x="20" y="5"/>
                      <a:pt x="20" y="6"/>
                      <a:pt x="21" y="8"/>
                    </a:cubicBezTo>
                    <a:cubicBezTo>
                      <a:pt x="21" y="9"/>
                      <a:pt x="22" y="10"/>
                      <a:pt x="22" y="12"/>
                    </a:cubicBezTo>
                    <a:cubicBezTo>
                      <a:pt x="22" y="13"/>
                      <a:pt x="21" y="14"/>
                      <a:pt x="21" y="16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0"/>
                      <a:pt x="16" y="21"/>
                      <a:pt x="15" y="21"/>
                    </a:cubicBezTo>
                    <a:cubicBezTo>
                      <a:pt x="14" y="22"/>
                      <a:pt x="12" y="22"/>
                      <a:pt x="1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eform 217">
                <a:extLst>
                  <a:ext uri="{FF2B5EF4-FFF2-40B4-BE49-F238E27FC236}">
                    <a16:creationId xmlns:a16="http://schemas.microsoft.com/office/drawing/2014/main" id="{F7F4CA0B-6B6A-535E-8366-F14DF09F5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" y="918"/>
                <a:ext cx="14" cy="14"/>
              </a:xfrm>
              <a:custGeom>
                <a:avLst/>
                <a:gdLst>
                  <a:gd name="T0" fmla="*/ 10 w 21"/>
                  <a:gd name="T1" fmla="*/ 22 h 22"/>
                  <a:gd name="T2" fmla="*/ 6 w 21"/>
                  <a:gd name="T3" fmla="*/ 21 h 22"/>
                  <a:gd name="T4" fmla="*/ 3 w 21"/>
                  <a:gd name="T5" fmla="*/ 19 h 22"/>
                  <a:gd name="T6" fmla="*/ 1 w 21"/>
                  <a:gd name="T7" fmla="*/ 16 h 22"/>
                  <a:gd name="T8" fmla="*/ 0 w 21"/>
                  <a:gd name="T9" fmla="*/ 12 h 22"/>
                  <a:gd name="T10" fmla="*/ 1 w 21"/>
                  <a:gd name="T11" fmla="*/ 8 h 22"/>
                  <a:gd name="T12" fmla="*/ 3 w 21"/>
                  <a:gd name="T13" fmla="*/ 4 h 22"/>
                  <a:gd name="T14" fmla="*/ 12 w 21"/>
                  <a:gd name="T15" fmla="*/ 1 h 22"/>
                  <a:gd name="T16" fmla="*/ 14 w 21"/>
                  <a:gd name="T17" fmla="*/ 2 h 22"/>
                  <a:gd name="T18" fmla="*/ 16 w 21"/>
                  <a:gd name="T19" fmla="*/ 3 h 22"/>
                  <a:gd name="T20" fmla="*/ 18 w 21"/>
                  <a:gd name="T21" fmla="*/ 4 h 22"/>
                  <a:gd name="T22" fmla="*/ 20 w 21"/>
                  <a:gd name="T23" fmla="*/ 8 h 22"/>
                  <a:gd name="T24" fmla="*/ 21 w 21"/>
                  <a:gd name="T25" fmla="*/ 12 h 22"/>
                  <a:gd name="T26" fmla="*/ 20 w 21"/>
                  <a:gd name="T27" fmla="*/ 16 h 22"/>
                  <a:gd name="T28" fmla="*/ 18 w 21"/>
                  <a:gd name="T29" fmla="*/ 19 h 22"/>
                  <a:gd name="T30" fmla="*/ 10 w 21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22">
                    <a:moveTo>
                      <a:pt x="10" y="22"/>
                    </a:moveTo>
                    <a:cubicBezTo>
                      <a:pt x="9" y="22"/>
                      <a:pt x="8" y="22"/>
                      <a:pt x="6" y="21"/>
                    </a:cubicBezTo>
                    <a:cubicBezTo>
                      <a:pt x="5" y="21"/>
                      <a:pt x="4" y="20"/>
                      <a:pt x="3" y="19"/>
                    </a:cubicBezTo>
                    <a:cubicBezTo>
                      <a:pt x="2" y="18"/>
                      <a:pt x="1" y="17"/>
                      <a:pt x="1" y="16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5" y="2"/>
                      <a:pt x="9" y="0"/>
                      <a:pt x="12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5" y="2"/>
                      <a:pt x="16" y="2"/>
                      <a:pt x="16" y="3"/>
                    </a:cubicBezTo>
                    <a:cubicBezTo>
                      <a:pt x="17" y="3"/>
                      <a:pt x="17" y="4"/>
                      <a:pt x="18" y="4"/>
                    </a:cubicBezTo>
                    <a:cubicBezTo>
                      <a:pt x="19" y="5"/>
                      <a:pt x="20" y="6"/>
                      <a:pt x="20" y="8"/>
                    </a:cubicBezTo>
                    <a:cubicBezTo>
                      <a:pt x="21" y="9"/>
                      <a:pt x="21" y="10"/>
                      <a:pt x="21" y="12"/>
                    </a:cubicBezTo>
                    <a:cubicBezTo>
                      <a:pt x="21" y="13"/>
                      <a:pt x="21" y="14"/>
                      <a:pt x="20" y="16"/>
                    </a:cubicBezTo>
                    <a:cubicBezTo>
                      <a:pt x="20" y="17"/>
                      <a:pt x="19" y="18"/>
                      <a:pt x="18" y="19"/>
                    </a:cubicBezTo>
                    <a:cubicBezTo>
                      <a:pt x="16" y="21"/>
                      <a:pt x="13" y="22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9" name="Freeform 683">
              <a:extLst>
                <a:ext uri="{FF2B5EF4-FFF2-40B4-BE49-F238E27FC236}">
                  <a16:creationId xmlns:a16="http://schemas.microsoft.com/office/drawing/2014/main" id="{465C266F-29F4-1D21-747B-F2843E1E72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959" y="6217765"/>
              <a:ext cx="360000" cy="432000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6" name="Freeform 885">
            <a:extLst>
              <a:ext uri="{FF2B5EF4-FFF2-40B4-BE49-F238E27FC236}">
                <a16:creationId xmlns:a16="http://schemas.microsoft.com/office/drawing/2014/main" id="{033E720C-2E11-4516-EF9E-195473577EC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56214" y="4911094"/>
            <a:ext cx="333922" cy="394637"/>
          </a:xfrm>
          <a:custGeom>
            <a:avLst/>
            <a:gdLst>
              <a:gd name="T0" fmla="*/ 234 w 256"/>
              <a:gd name="T1" fmla="*/ 171 h 310"/>
              <a:gd name="T2" fmla="*/ 208 w 256"/>
              <a:gd name="T3" fmla="*/ 160 h 310"/>
              <a:gd name="T4" fmla="*/ 200 w 256"/>
              <a:gd name="T5" fmla="*/ 133 h 310"/>
              <a:gd name="T6" fmla="*/ 96 w 256"/>
              <a:gd name="T7" fmla="*/ 107 h 310"/>
              <a:gd name="T8" fmla="*/ 53 w 256"/>
              <a:gd name="T9" fmla="*/ 136 h 310"/>
              <a:gd name="T10" fmla="*/ 32 w 256"/>
              <a:gd name="T11" fmla="*/ 160 h 310"/>
              <a:gd name="T12" fmla="*/ 25 w 256"/>
              <a:gd name="T13" fmla="*/ 179 h 310"/>
              <a:gd name="T14" fmla="*/ 0 w 256"/>
              <a:gd name="T15" fmla="*/ 245 h 310"/>
              <a:gd name="T16" fmla="*/ 10 w 256"/>
              <a:gd name="T17" fmla="*/ 265 h 310"/>
              <a:gd name="T18" fmla="*/ 21 w 256"/>
              <a:gd name="T19" fmla="*/ 310 h 310"/>
              <a:gd name="T20" fmla="*/ 74 w 256"/>
              <a:gd name="T21" fmla="*/ 299 h 310"/>
              <a:gd name="T22" fmla="*/ 128 w 256"/>
              <a:gd name="T23" fmla="*/ 288 h 310"/>
              <a:gd name="T24" fmla="*/ 181 w 256"/>
              <a:gd name="T25" fmla="*/ 299 h 310"/>
              <a:gd name="T26" fmla="*/ 234 w 256"/>
              <a:gd name="T27" fmla="*/ 310 h 310"/>
              <a:gd name="T28" fmla="*/ 245 w 256"/>
              <a:gd name="T29" fmla="*/ 265 h 310"/>
              <a:gd name="T30" fmla="*/ 256 w 256"/>
              <a:gd name="T31" fmla="*/ 245 h 310"/>
              <a:gd name="T32" fmla="*/ 230 w 256"/>
              <a:gd name="T33" fmla="*/ 179 h 310"/>
              <a:gd name="T34" fmla="*/ 160 w 256"/>
              <a:gd name="T35" fmla="*/ 128 h 310"/>
              <a:gd name="T36" fmla="*/ 189 w 256"/>
              <a:gd name="T37" fmla="*/ 171 h 310"/>
              <a:gd name="T38" fmla="*/ 73 w 256"/>
              <a:gd name="T39" fmla="*/ 144 h 310"/>
              <a:gd name="T40" fmla="*/ 53 w 256"/>
              <a:gd name="T41" fmla="*/ 288 h 310"/>
              <a:gd name="T42" fmla="*/ 32 w 256"/>
              <a:gd name="T43" fmla="*/ 277 h 310"/>
              <a:gd name="T44" fmla="*/ 53 w 256"/>
              <a:gd name="T45" fmla="*/ 288 h 310"/>
              <a:gd name="T46" fmla="*/ 21 w 256"/>
              <a:gd name="T47" fmla="*/ 224 h 310"/>
              <a:gd name="T48" fmla="*/ 202 w 256"/>
              <a:gd name="T49" fmla="*/ 192 h 310"/>
              <a:gd name="T50" fmla="*/ 234 w 256"/>
              <a:gd name="T51" fmla="*/ 245 h 310"/>
              <a:gd name="T52" fmla="*/ 21 w 256"/>
              <a:gd name="T53" fmla="*/ 245 h 310"/>
              <a:gd name="T54" fmla="*/ 202 w 256"/>
              <a:gd name="T55" fmla="*/ 288 h 310"/>
              <a:gd name="T56" fmla="*/ 224 w 256"/>
              <a:gd name="T57" fmla="*/ 277 h 310"/>
              <a:gd name="T58" fmla="*/ 160 w 256"/>
              <a:gd name="T59" fmla="*/ 224 h 310"/>
              <a:gd name="T60" fmla="*/ 106 w 256"/>
              <a:gd name="T61" fmla="*/ 235 h 310"/>
              <a:gd name="T62" fmla="*/ 106 w 256"/>
              <a:gd name="T63" fmla="*/ 214 h 310"/>
              <a:gd name="T64" fmla="*/ 160 w 256"/>
              <a:gd name="T65" fmla="*/ 224 h 310"/>
              <a:gd name="T66" fmla="*/ 57 w 256"/>
              <a:gd name="T67" fmla="*/ 239 h 310"/>
              <a:gd name="T68" fmla="*/ 57 w 256"/>
              <a:gd name="T69" fmla="*/ 218 h 310"/>
              <a:gd name="T70" fmla="*/ 208 w 256"/>
              <a:gd name="T71" fmla="*/ 228 h 310"/>
              <a:gd name="T72" fmla="*/ 188 w 256"/>
              <a:gd name="T73" fmla="*/ 228 h 310"/>
              <a:gd name="T74" fmla="*/ 208 w 256"/>
              <a:gd name="T75" fmla="*/ 228 h 310"/>
              <a:gd name="T76" fmla="*/ 13 w 256"/>
              <a:gd name="T77" fmla="*/ 55 h 310"/>
              <a:gd name="T78" fmla="*/ 242 w 256"/>
              <a:gd name="T79" fmla="*/ 55 h 310"/>
              <a:gd name="T80" fmla="*/ 226 w 256"/>
              <a:gd name="T81" fmla="*/ 69 h 310"/>
              <a:gd name="T82" fmla="*/ 29 w 256"/>
              <a:gd name="T83" fmla="*/ 69 h 310"/>
              <a:gd name="T84" fmla="*/ 14 w 256"/>
              <a:gd name="T85" fmla="*/ 70 h 310"/>
              <a:gd name="T86" fmla="*/ 211 w 256"/>
              <a:gd name="T87" fmla="*/ 104 h 310"/>
              <a:gd name="T88" fmla="*/ 128 w 256"/>
              <a:gd name="T89" fmla="*/ 70 h 310"/>
              <a:gd name="T90" fmla="*/ 51 w 256"/>
              <a:gd name="T91" fmla="*/ 107 h 310"/>
              <a:gd name="T92" fmla="*/ 43 w 256"/>
              <a:gd name="T93" fmla="*/ 89 h 310"/>
              <a:gd name="T94" fmla="*/ 212 w 256"/>
              <a:gd name="T95" fmla="*/ 89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6" h="310">
                <a:moveTo>
                  <a:pt x="230" y="179"/>
                </a:moveTo>
                <a:cubicBezTo>
                  <a:pt x="233" y="177"/>
                  <a:pt x="234" y="175"/>
                  <a:pt x="234" y="171"/>
                </a:cubicBezTo>
                <a:cubicBezTo>
                  <a:pt x="234" y="165"/>
                  <a:pt x="230" y="160"/>
                  <a:pt x="224" y="160"/>
                </a:cubicBezTo>
                <a:cubicBezTo>
                  <a:pt x="208" y="160"/>
                  <a:pt x="208" y="160"/>
                  <a:pt x="208" y="160"/>
                </a:cubicBezTo>
                <a:cubicBezTo>
                  <a:pt x="202" y="136"/>
                  <a:pt x="202" y="136"/>
                  <a:pt x="202" y="136"/>
                </a:cubicBezTo>
                <a:cubicBezTo>
                  <a:pt x="202" y="135"/>
                  <a:pt x="201" y="134"/>
                  <a:pt x="200" y="133"/>
                </a:cubicBezTo>
                <a:cubicBezTo>
                  <a:pt x="198" y="130"/>
                  <a:pt x="180" y="107"/>
                  <a:pt x="160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75" y="107"/>
                  <a:pt x="57" y="130"/>
                  <a:pt x="55" y="133"/>
                </a:cubicBezTo>
                <a:cubicBezTo>
                  <a:pt x="54" y="134"/>
                  <a:pt x="54" y="135"/>
                  <a:pt x="53" y="136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26" y="160"/>
                  <a:pt x="21" y="165"/>
                  <a:pt x="21" y="171"/>
                </a:cubicBezTo>
                <a:cubicBezTo>
                  <a:pt x="21" y="175"/>
                  <a:pt x="23" y="177"/>
                  <a:pt x="25" y="179"/>
                </a:cubicBezTo>
                <a:cubicBezTo>
                  <a:pt x="10" y="189"/>
                  <a:pt x="0" y="206"/>
                  <a:pt x="0" y="22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48"/>
                  <a:pt x="0" y="255"/>
                  <a:pt x="6" y="262"/>
                </a:cubicBezTo>
                <a:cubicBezTo>
                  <a:pt x="8" y="263"/>
                  <a:pt x="9" y="264"/>
                  <a:pt x="10" y="265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5"/>
                  <a:pt x="15" y="310"/>
                  <a:pt x="21" y="310"/>
                </a:cubicBezTo>
                <a:cubicBezTo>
                  <a:pt x="64" y="310"/>
                  <a:pt x="64" y="310"/>
                  <a:pt x="64" y="310"/>
                </a:cubicBezTo>
                <a:cubicBezTo>
                  <a:pt x="70" y="310"/>
                  <a:pt x="74" y="305"/>
                  <a:pt x="74" y="299"/>
                </a:cubicBezTo>
                <a:cubicBezTo>
                  <a:pt x="74" y="286"/>
                  <a:pt x="74" y="286"/>
                  <a:pt x="74" y="286"/>
                </a:cubicBezTo>
                <a:cubicBezTo>
                  <a:pt x="90" y="287"/>
                  <a:pt x="107" y="288"/>
                  <a:pt x="128" y="288"/>
                </a:cubicBezTo>
                <a:cubicBezTo>
                  <a:pt x="148" y="288"/>
                  <a:pt x="165" y="287"/>
                  <a:pt x="181" y="286"/>
                </a:cubicBezTo>
                <a:cubicBezTo>
                  <a:pt x="181" y="299"/>
                  <a:pt x="181" y="299"/>
                  <a:pt x="181" y="299"/>
                </a:cubicBezTo>
                <a:cubicBezTo>
                  <a:pt x="181" y="305"/>
                  <a:pt x="186" y="310"/>
                  <a:pt x="192" y="310"/>
                </a:cubicBezTo>
                <a:cubicBezTo>
                  <a:pt x="234" y="310"/>
                  <a:pt x="234" y="310"/>
                  <a:pt x="234" y="310"/>
                </a:cubicBezTo>
                <a:cubicBezTo>
                  <a:pt x="240" y="310"/>
                  <a:pt x="245" y="305"/>
                  <a:pt x="245" y="299"/>
                </a:cubicBezTo>
                <a:cubicBezTo>
                  <a:pt x="245" y="265"/>
                  <a:pt x="245" y="265"/>
                  <a:pt x="245" y="265"/>
                </a:cubicBezTo>
                <a:cubicBezTo>
                  <a:pt x="246" y="264"/>
                  <a:pt x="248" y="263"/>
                  <a:pt x="249" y="262"/>
                </a:cubicBezTo>
                <a:cubicBezTo>
                  <a:pt x="255" y="255"/>
                  <a:pt x="256" y="248"/>
                  <a:pt x="256" y="245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56" y="206"/>
                  <a:pt x="245" y="189"/>
                  <a:pt x="230" y="179"/>
                </a:cubicBezTo>
                <a:close/>
                <a:moveTo>
                  <a:pt x="96" y="128"/>
                </a:moveTo>
                <a:cubicBezTo>
                  <a:pt x="160" y="128"/>
                  <a:pt x="160" y="128"/>
                  <a:pt x="160" y="128"/>
                </a:cubicBezTo>
                <a:cubicBezTo>
                  <a:pt x="166" y="128"/>
                  <a:pt x="176" y="137"/>
                  <a:pt x="182" y="144"/>
                </a:cubicBezTo>
                <a:cubicBezTo>
                  <a:pt x="189" y="171"/>
                  <a:pt x="189" y="171"/>
                  <a:pt x="189" y="171"/>
                </a:cubicBezTo>
                <a:cubicBezTo>
                  <a:pt x="67" y="171"/>
                  <a:pt x="67" y="171"/>
                  <a:pt x="67" y="171"/>
                </a:cubicBezTo>
                <a:cubicBezTo>
                  <a:pt x="73" y="144"/>
                  <a:pt x="73" y="144"/>
                  <a:pt x="73" y="144"/>
                </a:cubicBezTo>
                <a:cubicBezTo>
                  <a:pt x="79" y="137"/>
                  <a:pt x="89" y="128"/>
                  <a:pt x="96" y="128"/>
                </a:cubicBezTo>
                <a:close/>
                <a:moveTo>
                  <a:pt x="53" y="288"/>
                </a:moveTo>
                <a:cubicBezTo>
                  <a:pt x="32" y="288"/>
                  <a:pt x="32" y="288"/>
                  <a:pt x="32" y="288"/>
                </a:cubicBezTo>
                <a:cubicBezTo>
                  <a:pt x="32" y="277"/>
                  <a:pt x="32" y="277"/>
                  <a:pt x="32" y="277"/>
                </a:cubicBezTo>
                <a:cubicBezTo>
                  <a:pt x="38" y="279"/>
                  <a:pt x="45" y="281"/>
                  <a:pt x="53" y="282"/>
                </a:cubicBezTo>
                <a:lnTo>
                  <a:pt x="53" y="288"/>
                </a:lnTo>
                <a:close/>
                <a:moveTo>
                  <a:pt x="21" y="245"/>
                </a:moveTo>
                <a:cubicBezTo>
                  <a:pt x="21" y="224"/>
                  <a:pt x="21" y="224"/>
                  <a:pt x="21" y="224"/>
                </a:cubicBezTo>
                <a:cubicBezTo>
                  <a:pt x="21" y="208"/>
                  <a:pt x="37" y="192"/>
                  <a:pt x="53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19" y="192"/>
                  <a:pt x="234" y="208"/>
                  <a:pt x="234" y="224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3" y="247"/>
                  <a:pt x="222" y="267"/>
                  <a:pt x="128" y="267"/>
                </a:cubicBezTo>
                <a:cubicBezTo>
                  <a:pt x="34" y="267"/>
                  <a:pt x="22" y="247"/>
                  <a:pt x="21" y="245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202" y="282"/>
                  <a:pt x="202" y="282"/>
                  <a:pt x="202" y="282"/>
                </a:cubicBezTo>
                <a:cubicBezTo>
                  <a:pt x="210" y="281"/>
                  <a:pt x="217" y="279"/>
                  <a:pt x="224" y="277"/>
                </a:cubicBezTo>
                <a:lnTo>
                  <a:pt x="224" y="288"/>
                </a:lnTo>
                <a:close/>
                <a:moveTo>
                  <a:pt x="160" y="224"/>
                </a:moveTo>
                <a:cubicBezTo>
                  <a:pt x="160" y="230"/>
                  <a:pt x="155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30"/>
                  <a:pt x="96" y="224"/>
                </a:cubicBezTo>
                <a:cubicBezTo>
                  <a:pt x="96" y="218"/>
                  <a:pt x="100" y="214"/>
                  <a:pt x="106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55" y="214"/>
                  <a:pt x="160" y="218"/>
                  <a:pt x="160" y="224"/>
                </a:cubicBezTo>
                <a:close/>
                <a:moveTo>
                  <a:pt x="67" y="228"/>
                </a:moveTo>
                <a:cubicBezTo>
                  <a:pt x="67" y="234"/>
                  <a:pt x="63" y="239"/>
                  <a:pt x="57" y="239"/>
                </a:cubicBezTo>
                <a:cubicBezTo>
                  <a:pt x="52" y="239"/>
                  <a:pt x="47" y="234"/>
                  <a:pt x="47" y="228"/>
                </a:cubicBezTo>
                <a:cubicBezTo>
                  <a:pt x="47" y="223"/>
                  <a:pt x="52" y="218"/>
                  <a:pt x="57" y="218"/>
                </a:cubicBezTo>
                <a:cubicBezTo>
                  <a:pt x="63" y="218"/>
                  <a:pt x="67" y="223"/>
                  <a:pt x="67" y="228"/>
                </a:cubicBezTo>
                <a:close/>
                <a:moveTo>
                  <a:pt x="208" y="228"/>
                </a:moveTo>
                <a:cubicBezTo>
                  <a:pt x="208" y="234"/>
                  <a:pt x="204" y="239"/>
                  <a:pt x="198" y="239"/>
                </a:cubicBezTo>
                <a:cubicBezTo>
                  <a:pt x="193" y="239"/>
                  <a:pt x="188" y="234"/>
                  <a:pt x="188" y="228"/>
                </a:cubicBezTo>
                <a:cubicBezTo>
                  <a:pt x="188" y="223"/>
                  <a:pt x="193" y="218"/>
                  <a:pt x="198" y="218"/>
                </a:cubicBezTo>
                <a:cubicBezTo>
                  <a:pt x="204" y="218"/>
                  <a:pt x="208" y="223"/>
                  <a:pt x="208" y="228"/>
                </a:cubicBezTo>
                <a:close/>
                <a:moveTo>
                  <a:pt x="14" y="70"/>
                </a:moveTo>
                <a:cubicBezTo>
                  <a:pt x="10" y="66"/>
                  <a:pt x="9" y="60"/>
                  <a:pt x="13" y="55"/>
                </a:cubicBezTo>
                <a:cubicBezTo>
                  <a:pt x="43" y="20"/>
                  <a:pt x="84" y="0"/>
                  <a:pt x="128" y="0"/>
                </a:cubicBezTo>
                <a:cubicBezTo>
                  <a:pt x="171" y="0"/>
                  <a:pt x="212" y="20"/>
                  <a:pt x="242" y="55"/>
                </a:cubicBezTo>
                <a:cubicBezTo>
                  <a:pt x="246" y="60"/>
                  <a:pt x="246" y="66"/>
                  <a:pt x="241" y="70"/>
                </a:cubicBezTo>
                <a:cubicBezTo>
                  <a:pt x="237" y="74"/>
                  <a:pt x="230" y="74"/>
                  <a:pt x="226" y="69"/>
                </a:cubicBezTo>
                <a:cubicBezTo>
                  <a:pt x="200" y="39"/>
                  <a:pt x="165" y="22"/>
                  <a:pt x="128" y="22"/>
                </a:cubicBezTo>
                <a:cubicBezTo>
                  <a:pt x="90" y="22"/>
                  <a:pt x="55" y="39"/>
                  <a:pt x="29" y="69"/>
                </a:cubicBezTo>
                <a:cubicBezTo>
                  <a:pt x="27" y="72"/>
                  <a:pt x="24" y="73"/>
                  <a:pt x="21" y="73"/>
                </a:cubicBezTo>
                <a:cubicBezTo>
                  <a:pt x="19" y="73"/>
                  <a:pt x="16" y="72"/>
                  <a:pt x="14" y="70"/>
                </a:cubicBezTo>
                <a:close/>
                <a:moveTo>
                  <a:pt x="212" y="89"/>
                </a:moveTo>
                <a:cubicBezTo>
                  <a:pt x="216" y="94"/>
                  <a:pt x="215" y="101"/>
                  <a:pt x="211" y="104"/>
                </a:cubicBezTo>
                <a:cubicBezTo>
                  <a:pt x="206" y="108"/>
                  <a:pt x="200" y="108"/>
                  <a:pt x="196" y="103"/>
                </a:cubicBezTo>
                <a:cubicBezTo>
                  <a:pt x="178" y="82"/>
                  <a:pt x="153" y="70"/>
                  <a:pt x="128" y="70"/>
                </a:cubicBezTo>
                <a:cubicBezTo>
                  <a:pt x="102" y="70"/>
                  <a:pt x="78" y="82"/>
                  <a:pt x="60" y="103"/>
                </a:cubicBezTo>
                <a:cubicBezTo>
                  <a:pt x="57" y="106"/>
                  <a:pt x="54" y="107"/>
                  <a:pt x="51" y="107"/>
                </a:cubicBezTo>
                <a:cubicBezTo>
                  <a:pt x="49" y="107"/>
                  <a:pt x="47" y="106"/>
                  <a:pt x="45" y="104"/>
                </a:cubicBezTo>
                <a:cubicBezTo>
                  <a:pt x="40" y="101"/>
                  <a:pt x="40" y="94"/>
                  <a:pt x="43" y="89"/>
                </a:cubicBezTo>
                <a:cubicBezTo>
                  <a:pt x="66" y="63"/>
                  <a:pt x="96" y="49"/>
                  <a:pt x="128" y="49"/>
                </a:cubicBezTo>
                <a:cubicBezTo>
                  <a:pt x="160" y="49"/>
                  <a:pt x="190" y="63"/>
                  <a:pt x="212" y="89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72450817-6485-7F8F-35F4-DA095D7D2D4F}"/>
              </a:ext>
            </a:extLst>
          </p:cNvPr>
          <p:cNvCxnSpPr>
            <a:cxnSpLocks/>
          </p:cNvCxnSpPr>
          <p:nvPr/>
        </p:nvCxnSpPr>
        <p:spPr>
          <a:xfrm>
            <a:off x="5688419" y="4619704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8BA71D55-EB3A-339D-311E-442F4FF3A85B}"/>
              </a:ext>
            </a:extLst>
          </p:cNvPr>
          <p:cNvCxnSpPr>
            <a:cxnSpLocks/>
          </p:cNvCxnSpPr>
          <p:nvPr/>
        </p:nvCxnSpPr>
        <p:spPr>
          <a:xfrm flipH="1">
            <a:off x="5123175" y="4619704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23661DDD-91AD-BBE8-E1D4-2FF025688260}"/>
              </a:ext>
            </a:extLst>
          </p:cNvPr>
          <p:cNvCxnSpPr/>
          <p:nvPr/>
        </p:nvCxnSpPr>
        <p:spPr>
          <a:xfrm>
            <a:off x="4037779" y="5138205"/>
            <a:ext cx="216000" cy="0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37DD3F45-801E-6A41-D1E3-C8636CBE1443}"/>
              </a:ext>
            </a:extLst>
          </p:cNvPr>
          <p:cNvCxnSpPr/>
          <p:nvPr/>
        </p:nvCxnSpPr>
        <p:spPr>
          <a:xfrm>
            <a:off x="4652321" y="5166142"/>
            <a:ext cx="216000" cy="0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F2D088F6-FD84-10D5-0F6E-970CBF9A1630}"/>
              </a:ext>
            </a:extLst>
          </p:cNvPr>
          <p:cNvCxnSpPr/>
          <p:nvPr/>
        </p:nvCxnSpPr>
        <p:spPr>
          <a:xfrm>
            <a:off x="5458986" y="5147147"/>
            <a:ext cx="216000" cy="0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42" name="Freeform 270">
            <a:extLst>
              <a:ext uri="{FF2B5EF4-FFF2-40B4-BE49-F238E27FC236}">
                <a16:creationId xmlns:a16="http://schemas.microsoft.com/office/drawing/2014/main" id="{15913327-8C94-6703-59CA-14AEEB798B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58137" y="3185018"/>
            <a:ext cx="350284" cy="394636"/>
          </a:xfrm>
          <a:custGeom>
            <a:avLst/>
            <a:gdLst>
              <a:gd name="T0" fmla="*/ 2147483646 w 235"/>
              <a:gd name="T1" fmla="*/ 2147483646 h 320"/>
              <a:gd name="T2" fmla="*/ 2147483646 w 235"/>
              <a:gd name="T3" fmla="*/ 2147483646 h 320"/>
              <a:gd name="T4" fmla="*/ 2147483646 w 235"/>
              <a:gd name="T5" fmla="*/ 2147483646 h 320"/>
              <a:gd name="T6" fmla="*/ 2147483646 w 235"/>
              <a:gd name="T7" fmla="*/ 2147483646 h 320"/>
              <a:gd name="T8" fmla="*/ 2147483646 w 235"/>
              <a:gd name="T9" fmla="*/ 2147483646 h 320"/>
              <a:gd name="T10" fmla="*/ 2147483646 w 235"/>
              <a:gd name="T11" fmla="*/ 2147483646 h 320"/>
              <a:gd name="T12" fmla="*/ 2147483646 w 235"/>
              <a:gd name="T13" fmla="*/ 2147483646 h 320"/>
              <a:gd name="T14" fmla="*/ 2147483646 w 235"/>
              <a:gd name="T15" fmla="*/ 2147483646 h 320"/>
              <a:gd name="T16" fmla="*/ 2147483646 w 235"/>
              <a:gd name="T17" fmla="*/ 2147483646 h 320"/>
              <a:gd name="T18" fmla="*/ 2147483646 w 235"/>
              <a:gd name="T19" fmla="*/ 2147483646 h 320"/>
              <a:gd name="T20" fmla="*/ 2147483646 w 235"/>
              <a:gd name="T21" fmla="*/ 2147483646 h 320"/>
              <a:gd name="T22" fmla="*/ 2147483646 w 235"/>
              <a:gd name="T23" fmla="*/ 2147483646 h 320"/>
              <a:gd name="T24" fmla="*/ 2147483646 w 235"/>
              <a:gd name="T25" fmla="*/ 2147483646 h 320"/>
              <a:gd name="T26" fmla="*/ 2147483646 w 235"/>
              <a:gd name="T27" fmla="*/ 2147483646 h 320"/>
              <a:gd name="T28" fmla="*/ 2147483646 w 235"/>
              <a:gd name="T29" fmla="*/ 2147483646 h 320"/>
              <a:gd name="T30" fmla="*/ 2147483646 w 235"/>
              <a:gd name="T31" fmla="*/ 2147483646 h 320"/>
              <a:gd name="T32" fmla="*/ 2147483646 w 235"/>
              <a:gd name="T33" fmla="*/ 2147483646 h 320"/>
              <a:gd name="T34" fmla="*/ 2147483646 w 235"/>
              <a:gd name="T35" fmla="*/ 2147483646 h 320"/>
              <a:gd name="T36" fmla="*/ 2147483646 w 235"/>
              <a:gd name="T37" fmla="*/ 2147483646 h 320"/>
              <a:gd name="T38" fmla="*/ 2147483646 w 235"/>
              <a:gd name="T39" fmla="*/ 2147483646 h 320"/>
              <a:gd name="T40" fmla="*/ 2147483646 w 235"/>
              <a:gd name="T41" fmla="*/ 2147483646 h 320"/>
              <a:gd name="T42" fmla="*/ 2147483646 w 235"/>
              <a:gd name="T43" fmla="*/ 2147483646 h 320"/>
              <a:gd name="T44" fmla="*/ 2147483646 w 235"/>
              <a:gd name="T45" fmla="*/ 2147483646 h 320"/>
              <a:gd name="T46" fmla="*/ 2147483646 w 235"/>
              <a:gd name="T47" fmla="*/ 2147483646 h 320"/>
              <a:gd name="T48" fmla="*/ 2147483646 w 235"/>
              <a:gd name="T49" fmla="*/ 2147483646 h 320"/>
              <a:gd name="T50" fmla="*/ 2147483646 w 235"/>
              <a:gd name="T51" fmla="*/ 2147483646 h 320"/>
              <a:gd name="T52" fmla="*/ 2147483646 w 235"/>
              <a:gd name="T53" fmla="*/ 2147483646 h 320"/>
              <a:gd name="T54" fmla="*/ 2147483646 w 235"/>
              <a:gd name="T55" fmla="*/ 2147483646 h 320"/>
              <a:gd name="T56" fmla="*/ 2147483646 w 235"/>
              <a:gd name="T57" fmla="*/ 2147483646 h 320"/>
              <a:gd name="T58" fmla="*/ 2147483646 w 235"/>
              <a:gd name="T59" fmla="*/ 2147483646 h 320"/>
              <a:gd name="T60" fmla="*/ 2147483646 w 235"/>
              <a:gd name="T61" fmla="*/ 2147483646 h 320"/>
              <a:gd name="T62" fmla="*/ 2147483646 w 235"/>
              <a:gd name="T63" fmla="*/ 2147483646 h 320"/>
              <a:gd name="T64" fmla="*/ 2147483646 w 235"/>
              <a:gd name="T65" fmla="*/ 2147483646 h 320"/>
              <a:gd name="T66" fmla="*/ 2147483646 w 235"/>
              <a:gd name="T67" fmla="*/ 2147483646 h 320"/>
              <a:gd name="T68" fmla="*/ 2147483646 w 235"/>
              <a:gd name="T69" fmla="*/ 2147483646 h 320"/>
              <a:gd name="T70" fmla="*/ 2147483646 w 235"/>
              <a:gd name="T71" fmla="*/ 2147483646 h 320"/>
              <a:gd name="T72" fmla="*/ 2147483646 w 235"/>
              <a:gd name="T73" fmla="*/ 2147483646 h 320"/>
              <a:gd name="T74" fmla="*/ 2147483646 w 235"/>
              <a:gd name="T75" fmla="*/ 2147483646 h 320"/>
              <a:gd name="T76" fmla="*/ 2147483646 w 235"/>
              <a:gd name="T77" fmla="*/ 2147483646 h 320"/>
              <a:gd name="T78" fmla="*/ 2147483646 w 235"/>
              <a:gd name="T79" fmla="*/ 2147483646 h 320"/>
              <a:gd name="T80" fmla="*/ 2147483646 w 235"/>
              <a:gd name="T81" fmla="*/ 2147483646 h 320"/>
              <a:gd name="T82" fmla="*/ 2147483646 w 235"/>
              <a:gd name="T83" fmla="*/ 2147483646 h 320"/>
              <a:gd name="T84" fmla="*/ 2147483646 w 235"/>
              <a:gd name="T85" fmla="*/ 2147483646 h 320"/>
              <a:gd name="T86" fmla="*/ 2147483646 w 235"/>
              <a:gd name="T87" fmla="*/ 2147483646 h 320"/>
              <a:gd name="T88" fmla="*/ 2147483646 w 235"/>
              <a:gd name="T89" fmla="*/ 2147483646 h 320"/>
              <a:gd name="T90" fmla="*/ 2147483646 w 235"/>
              <a:gd name="T91" fmla="*/ 2147483646 h 320"/>
              <a:gd name="T92" fmla="*/ 2147483646 w 235"/>
              <a:gd name="T93" fmla="*/ 2147483646 h 320"/>
              <a:gd name="T94" fmla="*/ 2147483646 w 235"/>
              <a:gd name="T95" fmla="*/ 2147483646 h 320"/>
              <a:gd name="T96" fmla="*/ 2147483646 w 235"/>
              <a:gd name="T97" fmla="*/ 2147483646 h 320"/>
              <a:gd name="T98" fmla="*/ 2147483646 w 235"/>
              <a:gd name="T99" fmla="*/ 2147483646 h 320"/>
              <a:gd name="T100" fmla="*/ 0 w 235"/>
              <a:gd name="T101" fmla="*/ 2147483646 h 320"/>
              <a:gd name="T102" fmla="*/ 2147483646 w 235"/>
              <a:gd name="T103" fmla="*/ 2147483646 h 320"/>
              <a:gd name="T104" fmla="*/ 2147483646 w 235"/>
              <a:gd name="T105" fmla="*/ 2147483646 h 320"/>
              <a:gd name="T106" fmla="*/ 2147483646 w 235"/>
              <a:gd name="T107" fmla="*/ 2147483646 h 320"/>
              <a:gd name="T108" fmla="*/ 2147483646 w 235"/>
              <a:gd name="T109" fmla="*/ 2147483646 h 320"/>
              <a:gd name="T110" fmla="*/ 2147483646 w 235"/>
              <a:gd name="T111" fmla="*/ 2147483646 h 320"/>
              <a:gd name="T112" fmla="*/ 2147483646 w 235"/>
              <a:gd name="T113" fmla="*/ 2147483646 h 32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ysClr val="windowText" lastClr="000000"/>
          </a:solidFill>
          <a:ln w="3175">
            <a:noFill/>
            <a:round/>
            <a:headEnd/>
            <a:tailEnd/>
          </a:ln>
        </p:spPr>
        <p:txBody>
          <a:bodyPr/>
          <a:lstStyle>
            <a:defPPr>
              <a:defRPr lang="cs-CZ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0B9150A9-8FA3-6775-7D7A-79CE9198D5FD}"/>
              </a:ext>
            </a:extLst>
          </p:cNvPr>
          <p:cNvCxnSpPr>
            <a:cxnSpLocks/>
          </p:cNvCxnSpPr>
          <p:nvPr/>
        </p:nvCxnSpPr>
        <p:spPr>
          <a:xfrm>
            <a:off x="5565498" y="3647015"/>
            <a:ext cx="196" cy="190573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44" name="Freeform 460">
            <a:extLst>
              <a:ext uri="{FF2B5EF4-FFF2-40B4-BE49-F238E27FC236}">
                <a16:creationId xmlns:a16="http://schemas.microsoft.com/office/drawing/2014/main" id="{CA3E558F-E097-616A-C052-DEA4AA95AA9F}"/>
              </a:ext>
            </a:extLst>
          </p:cNvPr>
          <p:cNvSpPr>
            <a:spLocks noEditPoints="1"/>
          </p:cNvSpPr>
          <p:nvPr/>
        </p:nvSpPr>
        <p:spPr bwMode="auto">
          <a:xfrm>
            <a:off x="3718042" y="5447458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5" name="Freeform 460">
            <a:extLst>
              <a:ext uri="{FF2B5EF4-FFF2-40B4-BE49-F238E27FC236}">
                <a16:creationId xmlns:a16="http://schemas.microsoft.com/office/drawing/2014/main" id="{02177879-0E3D-66CA-71A9-C969453BE0C0}"/>
              </a:ext>
            </a:extLst>
          </p:cNvPr>
          <p:cNvSpPr>
            <a:spLocks noEditPoints="1"/>
          </p:cNvSpPr>
          <p:nvPr/>
        </p:nvSpPr>
        <p:spPr bwMode="auto">
          <a:xfrm>
            <a:off x="4362534" y="5447458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6" name="Freeform 460">
            <a:extLst>
              <a:ext uri="{FF2B5EF4-FFF2-40B4-BE49-F238E27FC236}">
                <a16:creationId xmlns:a16="http://schemas.microsoft.com/office/drawing/2014/main" id="{D3005A37-415D-EF19-EB9F-D6E7B42AD6A3}"/>
              </a:ext>
            </a:extLst>
          </p:cNvPr>
          <p:cNvSpPr>
            <a:spLocks noEditPoints="1"/>
          </p:cNvSpPr>
          <p:nvPr/>
        </p:nvSpPr>
        <p:spPr bwMode="auto">
          <a:xfrm>
            <a:off x="5026357" y="5447458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7" name="Freeform 460">
            <a:extLst>
              <a:ext uri="{FF2B5EF4-FFF2-40B4-BE49-F238E27FC236}">
                <a16:creationId xmlns:a16="http://schemas.microsoft.com/office/drawing/2014/main" id="{555A0DDD-20F9-D262-79EE-55F1C5323F92}"/>
              </a:ext>
            </a:extLst>
          </p:cNvPr>
          <p:cNvSpPr>
            <a:spLocks noEditPoints="1"/>
          </p:cNvSpPr>
          <p:nvPr/>
        </p:nvSpPr>
        <p:spPr bwMode="auto">
          <a:xfrm>
            <a:off x="5965012" y="5447458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8" name="Freeform 460">
            <a:extLst>
              <a:ext uri="{FF2B5EF4-FFF2-40B4-BE49-F238E27FC236}">
                <a16:creationId xmlns:a16="http://schemas.microsoft.com/office/drawing/2014/main" id="{3E28DA53-7548-F08B-D6A3-879CC1487BD3}"/>
              </a:ext>
            </a:extLst>
          </p:cNvPr>
          <p:cNvSpPr>
            <a:spLocks noEditPoints="1"/>
          </p:cNvSpPr>
          <p:nvPr/>
        </p:nvSpPr>
        <p:spPr bwMode="auto">
          <a:xfrm>
            <a:off x="6328318" y="5447459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9" name="Freeform 281">
            <a:extLst>
              <a:ext uri="{FF2B5EF4-FFF2-40B4-BE49-F238E27FC236}">
                <a16:creationId xmlns:a16="http://schemas.microsoft.com/office/drawing/2014/main" id="{AE8E125C-D412-D10E-5866-C0B0698758F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77436" y="3185018"/>
            <a:ext cx="350284" cy="394636"/>
          </a:xfrm>
          <a:custGeom>
            <a:avLst/>
            <a:gdLst>
              <a:gd name="T0" fmla="*/ 2147483646 w 235"/>
              <a:gd name="T1" fmla="*/ 2147483646 h 320"/>
              <a:gd name="T2" fmla="*/ 2147483646 w 235"/>
              <a:gd name="T3" fmla="*/ 2147483646 h 320"/>
              <a:gd name="T4" fmla="*/ 2147483646 w 235"/>
              <a:gd name="T5" fmla="*/ 2147483646 h 320"/>
              <a:gd name="T6" fmla="*/ 2147483646 w 235"/>
              <a:gd name="T7" fmla="*/ 2147483646 h 320"/>
              <a:gd name="T8" fmla="*/ 2147483646 w 235"/>
              <a:gd name="T9" fmla="*/ 2147483646 h 320"/>
              <a:gd name="T10" fmla="*/ 2147483646 w 235"/>
              <a:gd name="T11" fmla="*/ 2147483646 h 320"/>
              <a:gd name="T12" fmla="*/ 2147483646 w 235"/>
              <a:gd name="T13" fmla="*/ 2147483646 h 320"/>
              <a:gd name="T14" fmla="*/ 2147483646 w 235"/>
              <a:gd name="T15" fmla="*/ 2147483646 h 320"/>
              <a:gd name="T16" fmla="*/ 2147483646 w 235"/>
              <a:gd name="T17" fmla="*/ 2147483646 h 320"/>
              <a:gd name="T18" fmla="*/ 2147483646 w 235"/>
              <a:gd name="T19" fmla="*/ 2147483646 h 320"/>
              <a:gd name="T20" fmla="*/ 2147483646 w 235"/>
              <a:gd name="T21" fmla="*/ 2147483646 h 320"/>
              <a:gd name="T22" fmla="*/ 2147483646 w 235"/>
              <a:gd name="T23" fmla="*/ 2147483646 h 320"/>
              <a:gd name="T24" fmla="*/ 2147483646 w 235"/>
              <a:gd name="T25" fmla="*/ 2147483646 h 320"/>
              <a:gd name="T26" fmla="*/ 2147483646 w 235"/>
              <a:gd name="T27" fmla="*/ 2147483646 h 320"/>
              <a:gd name="T28" fmla="*/ 2147483646 w 235"/>
              <a:gd name="T29" fmla="*/ 2147483646 h 320"/>
              <a:gd name="T30" fmla="*/ 2147483646 w 235"/>
              <a:gd name="T31" fmla="*/ 2147483646 h 320"/>
              <a:gd name="T32" fmla="*/ 2147483646 w 235"/>
              <a:gd name="T33" fmla="*/ 2147483646 h 320"/>
              <a:gd name="T34" fmla="*/ 2147483646 w 235"/>
              <a:gd name="T35" fmla="*/ 2147483646 h 320"/>
              <a:gd name="T36" fmla="*/ 2147483646 w 235"/>
              <a:gd name="T37" fmla="*/ 2147483646 h 320"/>
              <a:gd name="T38" fmla="*/ 2147483646 w 235"/>
              <a:gd name="T39" fmla="*/ 2147483646 h 320"/>
              <a:gd name="T40" fmla="*/ 2147483646 w 235"/>
              <a:gd name="T41" fmla="*/ 2147483646 h 320"/>
              <a:gd name="T42" fmla="*/ 2147483646 w 235"/>
              <a:gd name="T43" fmla="*/ 2147483646 h 320"/>
              <a:gd name="T44" fmla="*/ 2147483646 w 235"/>
              <a:gd name="T45" fmla="*/ 2147483646 h 320"/>
              <a:gd name="T46" fmla="*/ 2147483646 w 235"/>
              <a:gd name="T47" fmla="*/ 2147483646 h 320"/>
              <a:gd name="T48" fmla="*/ 2147483646 w 235"/>
              <a:gd name="T49" fmla="*/ 2147483646 h 320"/>
              <a:gd name="T50" fmla="*/ 2147483646 w 235"/>
              <a:gd name="T51" fmla="*/ 2147483646 h 320"/>
              <a:gd name="T52" fmla="*/ 2147483646 w 235"/>
              <a:gd name="T53" fmla="*/ 2147483646 h 320"/>
              <a:gd name="T54" fmla="*/ 2147483646 w 235"/>
              <a:gd name="T55" fmla="*/ 2147483646 h 320"/>
              <a:gd name="T56" fmla="*/ 2147483646 w 235"/>
              <a:gd name="T57" fmla="*/ 2147483646 h 320"/>
              <a:gd name="T58" fmla="*/ 2147483646 w 235"/>
              <a:gd name="T59" fmla="*/ 2147483646 h 320"/>
              <a:gd name="T60" fmla="*/ 2147483646 w 235"/>
              <a:gd name="T61" fmla="*/ 2147483646 h 320"/>
              <a:gd name="T62" fmla="*/ 2147483646 w 235"/>
              <a:gd name="T63" fmla="*/ 2147483646 h 320"/>
              <a:gd name="T64" fmla="*/ 2147483646 w 235"/>
              <a:gd name="T65" fmla="*/ 2147483646 h 320"/>
              <a:gd name="T66" fmla="*/ 2147483646 w 235"/>
              <a:gd name="T67" fmla="*/ 2147483646 h 320"/>
              <a:gd name="T68" fmla="*/ 2147483646 w 235"/>
              <a:gd name="T69" fmla="*/ 2147483646 h 320"/>
              <a:gd name="T70" fmla="*/ 2147483646 w 235"/>
              <a:gd name="T71" fmla="*/ 2147483646 h 320"/>
              <a:gd name="T72" fmla="*/ 2147483646 w 235"/>
              <a:gd name="T73" fmla="*/ 2147483646 h 320"/>
              <a:gd name="T74" fmla="*/ 2147483646 w 235"/>
              <a:gd name="T75" fmla="*/ 2147483646 h 320"/>
              <a:gd name="T76" fmla="*/ 2147483646 w 235"/>
              <a:gd name="T77" fmla="*/ 2147483646 h 320"/>
              <a:gd name="T78" fmla="*/ 2147483646 w 235"/>
              <a:gd name="T79" fmla="*/ 2147483646 h 320"/>
              <a:gd name="T80" fmla="*/ 2147483646 w 235"/>
              <a:gd name="T81" fmla="*/ 2147483646 h 320"/>
              <a:gd name="T82" fmla="*/ 2147483646 w 235"/>
              <a:gd name="T83" fmla="*/ 2147483646 h 320"/>
              <a:gd name="T84" fmla="*/ 2147483646 w 235"/>
              <a:gd name="T85" fmla="*/ 2147483646 h 320"/>
              <a:gd name="T86" fmla="*/ 2147483646 w 235"/>
              <a:gd name="T87" fmla="*/ 2147483646 h 320"/>
              <a:gd name="T88" fmla="*/ 2147483646 w 235"/>
              <a:gd name="T89" fmla="*/ 2147483646 h 320"/>
              <a:gd name="T90" fmla="*/ 2147483646 w 235"/>
              <a:gd name="T91" fmla="*/ 2147483646 h 320"/>
              <a:gd name="T92" fmla="*/ 2147483646 w 235"/>
              <a:gd name="T93" fmla="*/ 2147483646 h 320"/>
              <a:gd name="T94" fmla="*/ 2147483646 w 235"/>
              <a:gd name="T95" fmla="*/ 2147483646 h 320"/>
              <a:gd name="T96" fmla="*/ 2147483646 w 235"/>
              <a:gd name="T97" fmla="*/ 2147483646 h 320"/>
              <a:gd name="T98" fmla="*/ 2147483646 w 235"/>
              <a:gd name="T99" fmla="*/ 2147483646 h 320"/>
              <a:gd name="T100" fmla="*/ 0 w 235"/>
              <a:gd name="T101" fmla="*/ 2147483646 h 320"/>
              <a:gd name="T102" fmla="*/ 2147483646 w 235"/>
              <a:gd name="T103" fmla="*/ 2147483646 h 320"/>
              <a:gd name="T104" fmla="*/ 2147483646 w 235"/>
              <a:gd name="T105" fmla="*/ 2147483646 h 320"/>
              <a:gd name="T106" fmla="*/ 2147483646 w 235"/>
              <a:gd name="T107" fmla="*/ 2147483646 h 320"/>
              <a:gd name="T108" fmla="*/ 2147483646 w 235"/>
              <a:gd name="T109" fmla="*/ 2147483646 h 320"/>
              <a:gd name="T110" fmla="*/ 2147483646 w 235"/>
              <a:gd name="T111" fmla="*/ 2147483646 h 320"/>
              <a:gd name="T112" fmla="*/ 2147483646 w 235"/>
              <a:gd name="T113" fmla="*/ 2147483646 h 32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ysClr val="windowText" lastClr="000000"/>
          </a:solidFill>
          <a:ln w="3175">
            <a:noFill/>
            <a:round/>
            <a:headEnd/>
            <a:tailEnd/>
          </a:ln>
        </p:spPr>
        <p:txBody>
          <a:bodyPr/>
          <a:lstStyle>
            <a:defPPr>
              <a:defRPr lang="cs-CZ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1945EDF6-1A38-595B-84FA-4E547212C8F6}"/>
              </a:ext>
            </a:extLst>
          </p:cNvPr>
          <p:cNvCxnSpPr/>
          <p:nvPr/>
        </p:nvCxnSpPr>
        <p:spPr>
          <a:xfrm flipH="1">
            <a:off x="6445353" y="3659403"/>
            <a:ext cx="12479" cy="1551701"/>
          </a:xfrm>
          <a:prstGeom prst="straightConnector1">
            <a:avLst/>
          </a:prstGeom>
          <a:noFill/>
          <a:ln w="3175" cap="flat" cmpd="sng" algn="ctr">
            <a:solidFill>
              <a:srgbClr val="70AD47">
                <a:lumMod val="50000"/>
              </a:srgbClr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51" name="Straight Arrow Connector 76">
            <a:extLst>
              <a:ext uri="{FF2B5EF4-FFF2-40B4-BE49-F238E27FC236}">
                <a16:creationId xmlns:a16="http://schemas.microsoft.com/office/drawing/2014/main" id="{1DF1E829-2461-60B5-8BCE-2444DDA68E45}"/>
              </a:ext>
            </a:extLst>
          </p:cNvPr>
          <p:cNvCxnSpPr>
            <a:cxnSpLocks/>
          </p:cNvCxnSpPr>
          <p:nvPr/>
        </p:nvCxnSpPr>
        <p:spPr>
          <a:xfrm flipH="1">
            <a:off x="6120501" y="3678126"/>
            <a:ext cx="195056" cy="1061984"/>
          </a:xfrm>
          <a:prstGeom prst="straightConnector1">
            <a:avLst/>
          </a:prstGeom>
          <a:noFill/>
          <a:ln w="3175" cap="flat" cmpd="sng" algn="ctr">
            <a:solidFill>
              <a:srgbClr val="70AD47">
                <a:lumMod val="50000"/>
              </a:srgb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52" name="Freeform 506">
            <a:extLst>
              <a:ext uri="{FF2B5EF4-FFF2-40B4-BE49-F238E27FC236}">
                <a16:creationId xmlns:a16="http://schemas.microsoft.com/office/drawing/2014/main" id="{0C181C77-DFB6-6DBB-CCE8-33A08CA3E7D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09458" y="4954578"/>
            <a:ext cx="315512" cy="390729"/>
          </a:xfrm>
          <a:custGeom>
            <a:avLst/>
            <a:gdLst>
              <a:gd name="T0" fmla="*/ 76 w 237"/>
              <a:gd name="T1" fmla="*/ 117 h 299"/>
              <a:gd name="T2" fmla="*/ 161 w 237"/>
              <a:gd name="T3" fmla="*/ 117 h 299"/>
              <a:gd name="T4" fmla="*/ 183 w 237"/>
              <a:gd name="T5" fmla="*/ 96 h 299"/>
              <a:gd name="T6" fmla="*/ 183 w 237"/>
              <a:gd name="T7" fmla="*/ 64 h 299"/>
              <a:gd name="T8" fmla="*/ 161 w 237"/>
              <a:gd name="T9" fmla="*/ 43 h 299"/>
              <a:gd name="T10" fmla="*/ 76 w 237"/>
              <a:gd name="T11" fmla="*/ 43 h 299"/>
              <a:gd name="T12" fmla="*/ 55 w 237"/>
              <a:gd name="T13" fmla="*/ 64 h 299"/>
              <a:gd name="T14" fmla="*/ 55 w 237"/>
              <a:gd name="T15" fmla="*/ 96 h 299"/>
              <a:gd name="T16" fmla="*/ 76 w 237"/>
              <a:gd name="T17" fmla="*/ 117 h 299"/>
              <a:gd name="T18" fmla="*/ 76 w 237"/>
              <a:gd name="T19" fmla="*/ 64 h 299"/>
              <a:gd name="T20" fmla="*/ 161 w 237"/>
              <a:gd name="T21" fmla="*/ 64 h 299"/>
              <a:gd name="T22" fmla="*/ 161 w 237"/>
              <a:gd name="T23" fmla="*/ 96 h 299"/>
              <a:gd name="T24" fmla="*/ 76 w 237"/>
              <a:gd name="T25" fmla="*/ 96 h 299"/>
              <a:gd name="T26" fmla="*/ 76 w 237"/>
              <a:gd name="T27" fmla="*/ 64 h 299"/>
              <a:gd name="T28" fmla="*/ 76 w 237"/>
              <a:gd name="T29" fmla="*/ 192 h 299"/>
              <a:gd name="T30" fmla="*/ 55 w 237"/>
              <a:gd name="T31" fmla="*/ 171 h 299"/>
              <a:gd name="T32" fmla="*/ 76 w 237"/>
              <a:gd name="T33" fmla="*/ 149 h 299"/>
              <a:gd name="T34" fmla="*/ 97 w 237"/>
              <a:gd name="T35" fmla="*/ 171 h 299"/>
              <a:gd name="T36" fmla="*/ 76 w 237"/>
              <a:gd name="T37" fmla="*/ 192 h 299"/>
              <a:gd name="T38" fmla="*/ 183 w 237"/>
              <a:gd name="T39" fmla="*/ 171 h 299"/>
              <a:gd name="T40" fmla="*/ 161 w 237"/>
              <a:gd name="T41" fmla="*/ 192 h 299"/>
              <a:gd name="T42" fmla="*/ 140 w 237"/>
              <a:gd name="T43" fmla="*/ 171 h 299"/>
              <a:gd name="T44" fmla="*/ 161 w 237"/>
              <a:gd name="T45" fmla="*/ 149 h 299"/>
              <a:gd name="T46" fmla="*/ 183 w 237"/>
              <a:gd name="T47" fmla="*/ 171 h 299"/>
              <a:gd name="T48" fmla="*/ 233 w 237"/>
              <a:gd name="T49" fmla="*/ 280 h 299"/>
              <a:gd name="T50" fmla="*/ 183 w 237"/>
              <a:gd name="T51" fmla="*/ 231 h 299"/>
              <a:gd name="T52" fmla="*/ 225 w 237"/>
              <a:gd name="T53" fmla="*/ 181 h 299"/>
              <a:gd name="T54" fmla="*/ 225 w 237"/>
              <a:gd name="T55" fmla="*/ 53 h 299"/>
              <a:gd name="T56" fmla="*/ 172 w 237"/>
              <a:gd name="T57" fmla="*/ 0 h 299"/>
              <a:gd name="T58" fmla="*/ 65 w 237"/>
              <a:gd name="T59" fmla="*/ 0 h 299"/>
              <a:gd name="T60" fmla="*/ 12 w 237"/>
              <a:gd name="T61" fmla="*/ 53 h 299"/>
              <a:gd name="T62" fmla="*/ 12 w 237"/>
              <a:gd name="T63" fmla="*/ 181 h 299"/>
              <a:gd name="T64" fmla="*/ 52 w 237"/>
              <a:gd name="T65" fmla="*/ 233 h 299"/>
              <a:gd name="T66" fmla="*/ 4 w 237"/>
              <a:gd name="T67" fmla="*/ 280 h 299"/>
              <a:gd name="T68" fmla="*/ 4 w 237"/>
              <a:gd name="T69" fmla="*/ 296 h 299"/>
              <a:gd name="T70" fmla="*/ 12 w 237"/>
              <a:gd name="T71" fmla="*/ 299 h 299"/>
              <a:gd name="T72" fmla="*/ 20 w 237"/>
              <a:gd name="T73" fmla="*/ 296 h 299"/>
              <a:gd name="T74" fmla="*/ 38 w 237"/>
              <a:gd name="T75" fmla="*/ 277 h 299"/>
              <a:gd name="T76" fmla="*/ 200 w 237"/>
              <a:gd name="T77" fmla="*/ 277 h 299"/>
              <a:gd name="T78" fmla="*/ 218 w 237"/>
              <a:gd name="T79" fmla="*/ 296 h 299"/>
              <a:gd name="T80" fmla="*/ 225 w 237"/>
              <a:gd name="T81" fmla="*/ 299 h 299"/>
              <a:gd name="T82" fmla="*/ 233 w 237"/>
              <a:gd name="T83" fmla="*/ 296 h 299"/>
              <a:gd name="T84" fmla="*/ 233 w 237"/>
              <a:gd name="T85" fmla="*/ 280 h 299"/>
              <a:gd name="T86" fmla="*/ 33 w 237"/>
              <a:gd name="T87" fmla="*/ 181 h 299"/>
              <a:gd name="T88" fmla="*/ 33 w 237"/>
              <a:gd name="T89" fmla="*/ 53 h 299"/>
              <a:gd name="T90" fmla="*/ 65 w 237"/>
              <a:gd name="T91" fmla="*/ 21 h 299"/>
              <a:gd name="T92" fmla="*/ 172 w 237"/>
              <a:gd name="T93" fmla="*/ 21 h 299"/>
              <a:gd name="T94" fmla="*/ 204 w 237"/>
              <a:gd name="T95" fmla="*/ 53 h 299"/>
              <a:gd name="T96" fmla="*/ 204 w 237"/>
              <a:gd name="T97" fmla="*/ 181 h 299"/>
              <a:gd name="T98" fmla="*/ 161 w 237"/>
              <a:gd name="T99" fmla="*/ 213 h 299"/>
              <a:gd name="T100" fmla="*/ 65 w 237"/>
              <a:gd name="T101" fmla="*/ 213 h 299"/>
              <a:gd name="T102" fmla="*/ 33 w 237"/>
              <a:gd name="T103" fmla="*/ 181 h 299"/>
              <a:gd name="T104" fmla="*/ 59 w 237"/>
              <a:gd name="T105" fmla="*/ 256 h 299"/>
              <a:gd name="T106" fmla="*/ 80 w 237"/>
              <a:gd name="T107" fmla="*/ 235 h 299"/>
              <a:gd name="T108" fmla="*/ 157 w 237"/>
              <a:gd name="T109" fmla="*/ 235 h 299"/>
              <a:gd name="T110" fmla="*/ 178 w 237"/>
              <a:gd name="T111" fmla="*/ 256 h 299"/>
              <a:gd name="T112" fmla="*/ 59 w 237"/>
              <a:gd name="T113" fmla="*/ 25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7" h="299">
                <a:moveTo>
                  <a:pt x="76" y="117"/>
                </a:moveTo>
                <a:cubicBezTo>
                  <a:pt x="161" y="117"/>
                  <a:pt x="161" y="117"/>
                  <a:pt x="161" y="117"/>
                </a:cubicBezTo>
                <a:cubicBezTo>
                  <a:pt x="173" y="117"/>
                  <a:pt x="183" y="108"/>
                  <a:pt x="183" y="96"/>
                </a:cubicBezTo>
                <a:cubicBezTo>
                  <a:pt x="183" y="64"/>
                  <a:pt x="183" y="64"/>
                  <a:pt x="183" y="64"/>
                </a:cubicBezTo>
                <a:cubicBezTo>
                  <a:pt x="183" y="52"/>
                  <a:pt x="173" y="43"/>
                  <a:pt x="161" y="43"/>
                </a:cubicBezTo>
                <a:cubicBezTo>
                  <a:pt x="76" y="43"/>
                  <a:pt x="76" y="43"/>
                  <a:pt x="76" y="43"/>
                </a:cubicBezTo>
                <a:cubicBezTo>
                  <a:pt x="64" y="43"/>
                  <a:pt x="55" y="52"/>
                  <a:pt x="55" y="64"/>
                </a:cubicBezTo>
                <a:cubicBezTo>
                  <a:pt x="55" y="96"/>
                  <a:pt x="55" y="96"/>
                  <a:pt x="55" y="96"/>
                </a:cubicBezTo>
                <a:cubicBezTo>
                  <a:pt x="55" y="108"/>
                  <a:pt x="64" y="117"/>
                  <a:pt x="76" y="117"/>
                </a:cubicBezTo>
                <a:close/>
                <a:moveTo>
                  <a:pt x="76" y="64"/>
                </a:moveTo>
                <a:cubicBezTo>
                  <a:pt x="161" y="64"/>
                  <a:pt x="161" y="64"/>
                  <a:pt x="161" y="64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76" y="96"/>
                  <a:pt x="76" y="96"/>
                  <a:pt x="76" y="96"/>
                </a:cubicBezTo>
                <a:lnTo>
                  <a:pt x="76" y="64"/>
                </a:lnTo>
                <a:close/>
                <a:moveTo>
                  <a:pt x="76" y="192"/>
                </a:moveTo>
                <a:cubicBezTo>
                  <a:pt x="64" y="192"/>
                  <a:pt x="55" y="182"/>
                  <a:pt x="55" y="171"/>
                </a:cubicBezTo>
                <a:cubicBezTo>
                  <a:pt x="55" y="159"/>
                  <a:pt x="64" y="149"/>
                  <a:pt x="76" y="149"/>
                </a:cubicBezTo>
                <a:cubicBezTo>
                  <a:pt x="88" y="149"/>
                  <a:pt x="97" y="159"/>
                  <a:pt x="97" y="171"/>
                </a:cubicBezTo>
                <a:cubicBezTo>
                  <a:pt x="97" y="182"/>
                  <a:pt x="88" y="192"/>
                  <a:pt x="76" y="192"/>
                </a:cubicBezTo>
                <a:close/>
                <a:moveTo>
                  <a:pt x="183" y="171"/>
                </a:moveTo>
                <a:cubicBezTo>
                  <a:pt x="183" y="182"/>
                  <a:pt x="173" y="192"/>
                  <a:pt x="161" y="192"/>
                </a:cubicBezTo>
                <a:cubicBezTo>
                  <a:pt x="150" y="192"/>
                  <a:pt x="140" y="182"/>
                  <a:pt x="140" y="171"/>
                </a:cubicBezTo>
                <a:cubicBezTo>
                  <a:pt x="140" y="159"/>
                  <a:pt x="150" y="149"/>
                  <a:pt x="161" y="149"/>
                </a:cubicBezTo>
                <a:cubicBezTo>
                  <a:pt x="173" y="149"/>
                  <a:pt x="183" y="159"/>
                  <a:pt x="183" y="171"/>
                </a:cubicBezTo>
                <a:close/>
                <a:moveTo>
                  <a:pt x="233" y="280"/>
                </a:moveTo>
                <a:cubicBezTo>
                  <a:pt x="183" y="231"/>
                  <a:pt x="183" y="231"/>
                  <a:pt x="183" y="231"/>
                </a:cubicBezTo>
                <a:cubicBezTo>
                  <a:pt x="205" y="223"/>
                  <a:pt x="225" y="204"/>
                  <a:pt x="225" y="181"/>
                </a:cubicBezTo>
                <a:cubicBezTo>
                  <a:pt x="225" y="53"/>
                  <a:pt x="225" y="53"/>
                  <a:pt x="225" y="53"/>
                </a:cubicBezTo>
                <a:cubicBezTo>
                  <a:pt x="225" y="24"/>
                  <a:pt x="201" y="0"/>
                  <a:pt x="172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36" y="0"/>
                  <a:pt x="12" y="24"/>
                  <a:pt x="12" y="53"/>
                </a:cubicBezTo>
                <a:cubicBezTo>
                  <a:pt x="12" y="181"/>
                  <a:pt x="12" y="181"/>
                  <a:pt x="12" y="181"/>
                </a:cubicBezTo>
                <a:cubicBezTo>
                  <a:pt x="12" y="206"/>
                  <a:pt x="29" y="227"/>
                  <a:pt x="52" y="233"/>
                </a:cubicBezTo>
                <a:cubicBezTo>
                  <a:pt x="4" y="280"/>
                  <a:pt x="4" y="280"/>
                  <a:pt x="4" y="280"/>
                </a:cubicBezTo>
                <a:cubicBezTo>
                  <a:pt x="0" y="285"/>
                  <a:pt x="0" y="291"/>
                  <a:pt x="4" y="296"/>
                </a:cubicBezTo>
                <a:cubicBezTo>
                  <a:pt x="7" y="298"/>
                  <a:pt x="9" y="299"/>
                  <a:pt x="12" y="299"/>
                </a:cubicBezTo>
                <a:cubicBezTo>
                  <a:pt x="15" y="299"/>
                  <a:pt x="17" y="298"/>
                  <a:pt x="20" y="296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200" y="277"/>
                  <a:pt x="200" y="277"/>
                  <a:pt x="200" y="277"/>
                </a:cubicBezTo>
                <a:cubicBezTo>
                  <a:pt x="218" y="296"/>
                  <a:pt x="218" y="296"/>
                  <a:pt x="218" y="296"/>
                </a:cubicBezTo>
                <a:cubicBezTo>
                  <a:pt x="220" y="298"/>
                  <a:pt x="223" y="299"/>
                  <a:pt x="225" y="299"/>
                </a:cubicBezTo>
                <a:cubicBezTo>
                  <a:pt x="228" y="299"/>
                  <a:pt x="231" y="298"/>
                  <a:pt x="233" y="296"/>
                </a:cubicBezTo>
                <a:cubicBezTo>
                  <a:pt x="237" y="291"/>
                  <a:pt x="237" y="285"/>
                  <a:pt x="233" y="280"/>
                </a:cubicBezTo>
                <a:close/>
                <a:moveTo>
                  <a:pt x="33" y="181"/>
                </a:moveTo>
                <a:cubicBezTo>
                  <a:pt x="33" y="53"/>
                  <a:pt x="33" y="53"/>
                  <a:pt x="33" y="53"/>
                </a:cubicBezTo>
                <a:cubicBezTo>
                  <a:pt x="33" y="36"/>
                  <a:pt x="48" y="21"/>
                  <a:pt x="65" y="21"/>
                </a:cubicBezTo>
                <a:cubicBezTo>
                  <a:pt x="172" y="21"/>
                  <a:pt x="172" y="21"/>
                  <a:pt x="172" y="21"/>
                </a:cubicBezTo>
                <a:cubicBezTo>
                  <a:pt x="190" y="21"/>
                  <a:pt x="204" y="36"/>
                  <a:pt x="204" y="53"/>
                </a:cubicBezTo>
                <a:cubicBezTo>
                  <a:pt x="204" y="181"/>
                  <a:pt x="204" y="181"/>
                  <a:pt x="204" y="181"/>
                </a:cubicBezTo>
                <a:cubicBezTo>
                  <a:pt x="204" y="198"/>
                  <a:pt x="180" y="213"/>
                  <a:pt x="161" y="213"/>
                </a:cubicBezTo>
                <a:cubicBezTo>
                  <a:pt x="65" y="213"/>
                  <a:pt x="65" y="213"/>
                  <a:pt x="65" y="213"/>
                </a:cubicBezTo>
                <a:cubicBezTo>
                  <a:pt x="48" y="213"/>
                  <a:pt x="33" y="199"/>
                  <a:pt x="33" y="181"/>
                </a:cubicBezTo>
                <a:close/>
                <a:moveTo>
                  <a:pt x="59" y="256"/>
                </a:moveTo>
                <a:cubicBezTo>
                  <a:pt x="80" y="235"/>
                  <a:pt x="80" y="235"/>
                  <a:pt x="80" y="235"/>
                </a:cubicBezTo>
                <a:cubicBezTo>
                  <a:pt x="157" y="235"/>
                  <a:pt x="157" y="235"/>
                  <a:pt x="157" y="235"/>
                </a:cubicBezTo>
                <a:cubicBezTo>
                  <a:pt x="178" y="256"/>
                  <a:pt x="178" y="256"/>
                  <a:pt x="178" y="256"/>
                </a:cubicBezTo>
                <a:lnTo>
                  <a:pt x="59" y="256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561A3C26-29F7-E412-0173-710E9B1B36AE}"/>
              </a:ext>
            </a:extLst>
          </p:cNvPr>
          <p:cNvCxnSpPr/>
          <p:nvPr/>
        </p:nvCxnSpPr>
        <p:spPr>
          <a:xfrm>
            <a:off x="3406744" y="5138205"/>
            <a:ext cx="180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54" name="Freeform 824">
            <a:extLst>
              <a:ext uri="{FF2B5EF4-FFF2-40B4-BE49-F238E27FC236}">
                <a16:creationId xmlns:a16="http://schemas.microsoft.com/office/drawing/2014/main" id="{7CF3D030-74AA-5FB6-B28A-E68BA4403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24139" y="4954578"/>
            <a:ext cx="495058" cy="347314"/>
          </a:xfrm>
          <a:custGeom>
            <a:avLst/>
            <a:gdLst>
              <a:gd name="T0" fmla="*/ 256 w 342"/>
              <a:gd name="T1" fmla="*/ 96 h 245"/>
              <a:gd name="T2" fmla="*/ 246 w 342"/>
              <a:gd name="T3" fmla="*/ 32 h 245"/>
              <a:gd name="T4" fmla="*/ 203 w 342"/>
              <a:gd name="T5" fmla="*/ 0 h 245"/>
              <a:gd name="T6" fmla="*/ 32 w 342"/>
              <a:gd name="T7" fmla="*/ 32 h 245"/>
              <a:gd name="T8" fmla="*/ 22 w 342"/>
              <a:gd name="T9" fmla="*/ 74 h 245"/>
              <a:gd name="T10" fmla="*/ 0 w 342"/>
              <a:gd name="T11" fmla="*/ 85 h 245"/>
              <a:gd name="T12" fmla="*/ 22 w 342"/>
              <a:gd name="T13" fmla="*/ 96 h 245"/>
              <a:gd name="T14" fmla="*/ 11 w 342"/>
              <a:gd name="T15" fmla="*/ 117 h 245"/>
              <a:gd name="T16" fmla="*/ 11 w 342"/>
              <a:gd name="T17" fmla="*/ 138 h 245"/>
              <a:gd name="T18" fmla="*/ 22 w 342"/>
              <a:gd name="T19" fmla="*/ 213 h 245"/>
              <a:gd name="T20" fmla="*/ 56 w 342"/>
              <a:gd name="T21" fmla="*/ 224 h 245"/>
              <a:gd name="T22" fmla="*/ 116 w 342"/>
              <a:gd name="T23" fmla="*/ 224 h 245"/>
              <a:gd name="T24" fmla="*/ 267 w 342"/>
              <a:gd name="T25" fmla="*/ 245 h 245"/>
              <a:gd name="T26" fmla="*/ 331 w 342"/>
              <a:gd name="T27" fmla="*/ 224 h 245"/>
              <a:gd name="T28" fmla="*/ 342 w 342"/>
              <a:gd name="T29" fmla="*/ 128 h 245"/>
              <a:gd name="T30" fmla="*/ 203 w 342"/>
              <a:gd name="T31" fmla="*/ 21 h 245"/>
              <a:gd name="T32" fmla="*/ 192 w 342"/>
              <a:gd name="T33" fmla="*/ 32 h 245"/>
              <a:gd name="T34" fmla="*/ 43 w 342"/>
              <a:gd name="T35" fmla="*/ 96 h 245"/>
              <a:gd name="T36" fmla="*/ 64 w 342"/>
              <a:gd name="T37" fmla="*/ 117 h 245"/>
              <a:gd name="T38" fmla="*/ 43 w 342"/>
              <a:gd name="T39" fmla="*/ 96 h 245"/>
              <a:gd name="T40" fmla="*/ 107 w 342"/>
              <a:gd name="T41" fmla="*/ 117 h 245"/>
              <a:gd name="T42" fmla="*/ 86 w 342"/>
              <a:gd name="T43" fmla="*/ 96 h 245"/>
              <a:gd name="T44" fmla="*/ 150 w 342"/>
              <a:gd name="T45" fmla="*/ 96 h 245"/>
              <a:gd name="T46" fmla="*/ 128 w 342"/>
              <a:gd name="T47" fmla="*/ 117 h 245"/>
              <a:gd name="T48" fmla="*/ 150 w 342"/>
              <a:gd name="T49" fmla="*/ 96 h 245"/>
              <a:gd name="T50" fmla="*/ 192 w 342"/>
              <a:gd name="T51" fmla="*/ 117 h 245"/>
              <a:gd name="T52" fmla="*/ 171 w 342"/>
              <a:gd name="T53" fmla="*/ 96 h 245"/>
              <a:gd name="T54" fmla="*/ 43 w 342"/>
              <a:gd name="T55" fmla="*/ 138 h 245"/>
              <a:gd name="T56" fmla="*/ 224 w 342"/>
              <a:gd name="T57" fmla="*/ 128 h 245"/>
              <a:gd name="T58" fmla="*/ 214 w 342"/>
              <a:gd name="T59" fmla="*/ 96 h 245"/>
              <a:gd name="T60" fmla="*/ 214 w 342"/>
              <a:gd name="T61" fmla="*/ 74 h 245"/>
              <a:gd name="T62" fmla="*/ 43 w 342"/>
              <a:gd name="T63" fmla="*/ 53 h 245"/>
              <a:gd name="T64" fmla="*/ 235 w 342"/>
              <a:gd name="T65" fmla="*/ 202 h 245"/>
              <a:gd name="T66" fmla="*/ 86 w 342"/>
              <a:gd name="T67" fmla="*/ 181 h 245"/>
              <a:gd name="T68" fmla="*/ 43 w 342"/>
              <a:gd name="T69" fmla="*/ 202 h 245"/>
              <a:gd name="T70" fmla="*/ 86 w 342"/>
              <a:gd name="T71" fmla="*/ 224 h 245"/>
              <a:gd name="T72" fmla="*/ 86 w 342"/>
              <a:gd name="T73" fmla="*/ 202 h 245"/>
              <a:gd name="T74" fmla="*/ 86 w 342"/>
              <a:gd name="T75" fmla="*/ 224 h 245"/>
              <a:gd name="T76" fmla="*/ 256 w 342"/>
              <a:gd name="T77" fmla="*/ 213 h 245"/>
              <a:gd name="T78" fmla="*/ 278 w 342"/>
              <a:gd name="T79" fmla="*/ 213 h 245"/>
              <a:gd name="T80" fmla="*/ 320 w 342"/>
              <a:gd name="T81" fmla="*/ 202 h 245"/>
              <a:gd name="T82" fmla="*/ 267 w 342"/>
              <a:gd name="T83" fmla="*/ 181 h 245"/>
              <a:gd name="T84" fmla="*/ 256 w 342"/>
              <a:gd name="T85" fmla="*/ 117 h 245"/>
              <a:gd name="T86" fmla="*/ 320 w 342"/>
              <a:gd name="T87" fmla="*/ 12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42" h="245">
                <a:moveTo>
                  <a:pt x="310" y="96"/>
                </a:moveTo>
                <a:cubicBezTo>
                  <a:pt x="256" y="96"/>
                  <a:pt x="256" y="96"/>
                  <a:pt x="256" y="96"/>
                </a:cubicBezTo>
                <a:cubicBezTo>
                  <a:pt x="256" y="42"/>
                  <a:pt x="256" y="42"/>
                  <a:pt x="256" y="42"/>
                </a:cubicBezTo>
                <a:cubicBezTo>
                  <a:pt x="256" y="36"/>
                  <a:pt x="252" y="32"/>
                  <a:pt x="246" y="32"/>
                </a:cubicBezTo>
                <a:cubicBezTo>
                  <a:pt x="235" y="32"/>
                  <a:pt x="235" y="32"/>
                  <a:pt x="235" y="32"/>
                </a:cubicBezTo>
                <a:cubicBezTo>
                  <a:pt x="235" y="14"/>
                  <a:pt x="221" y="0"/>
                  <a:pt x="203" y="0"/>
                </a:cubicBezTo>
                <a:cubicBezTo>
                  <a:pt x="185" y="0"/>
                  <a:pt x="171" y="14"/>
                  <a:pt x="171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26" y="32"/>
                  <a:pt x="22" y="36"/>
                  <a:pt x="22" y="42"/>
                </a:cubicBezTo>
                <a:cubicBezTo>
                  <a:pt x="22" y="74"/>
                  <a:pt x="22" y="74"/>
                  <a:pt x="22" y="74"/>
                </a:cubicBezTo>
                <a:cubicBezTo>
                  <a:pt x="11" y="74"/>
                  <a:pt x="11" y="74"/>
                  <a:pt x="11" y="74"/>
                </a:cubicBezTo>
                <a:cubicBezTo>
                  <a:pt x="5" y="74"/>
                  <a:pt x="0" y="79"/>
                  <a:pt x="0" y="85"/>
                </a:cubicBezTo>
                <a:cubicBezTo>
                  <a:pt x="0" y="91"/>
                  <a:pt x="5" y="96"/>
                  <a:pt x="11" y="96"/>
                </a:cubicBezTo>
                <a:cubicBezTo>
                  <a:pt x="22" y="96"/>
                  <a:pt x="22" y="96"/>
                  <a:pt x="22" y="96"/>
                </a:cubicBezTo>
                <a:cubicBezTo>
                  <a:pt x="22" y="117"/>
                  <a:pt x="22" y="117"/>
                  <a:pt x="22" y="117"/>
                </a:cubicBezTo>
                <a:cubicBezTo>
                  <a:pt x="11" y="117"/>
                  <a:pt x="11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34"/>
                  <a:pt x="5" y="138"/>
                  <a:pt x="11" y="138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22" y="213"/>
                  <a:pt x="22" y="213"/>
                  <a:pt x="22" y="213"/>
                </a:cubicBezTo>
                <a:cubicBezTo>
                  <a:pt x="22" y="219"/>
                  <a:pt x="26" y="224"/>
                  <a:pt x="32" y="224"/>
                </a:cubicBezTo>
                <a:cubicBezTo>
                  <a:pt x="56" y="224"/>
                  <a:pt x="56" y="224"/>
                  <a:pt x="56" y="224"/>
                </a:cubicBezTo>
                <a:cubicBezTo>
                  <a:pt x="60" y="236"/>
                  <a:pt x="72" y="245"/>
                  <a:pt x="86" y="245"/>
                </a:cubicBezTo>
                <a:cubicBezTo>
                  <a:pt x="100" y="245"/>
                  <a:pt x="111" y="236"/>
                  <a:pt x="116" y="224"/>
                </a:cubicBezTo>
                <a:cubicBezTo>
                  <a:pt x="237" y="224"/>
                  <a:pt x="237" y="224"/>
                  <a:pt x="237" y="224"/>
                </a:cubicBezTo>
                <a:cubicBezTo>
                  <a:pt x="241" y="236"/>
                  <a:pt x="253" y="245"/>
                  <a:pt x="267" y="245"/>
                </a:cubicBezTo>
                <a:cubicBezTo>
                  <a:pt x="281" y="245"/>
                  <a:pt x="293" y="236"/>
                  <a:pt x="297" y="224"/>
                </a:cubicBezTo>
                <a:cubicBezTo>
                  <a:pt x="331" y="224"/>
                  <a:pt x="331" y="224"/>
                  <a:pt x="331" y="224"/>
                </a:cubicBezTo>
                <a:cubicBezTo>
                  <a:pt x="337" y="224"/>
                  <a:pt x="342" y="219"/>
                  <a:pt x="342" y="213"/>
                </a:cubicBezTo>
                <a:cubicBezTo>
                  <a:pt x="342" y="128"/>
                  <a:pt x="342" y="128"/>
                  <a:pt x="342" y="128"/>
                </a:cubicBezTo>
                <a:cubicBezTo>
                  <a:pt x="342" y="110"/>
                  <a:pt x="327" y="96"/>
                  <a:pt x="310" y="96"/>
                </a:cubicBezTo>
                <a:close/>
                <a:moveTo>
                  <a:pt x="203" y="21"/>
                </a:moveTo>
                <a:cubicBezTo>
                  <a:pt x="209" y="21"/>
                  <a:pt x="214" y="26"/>
                  <a:pt x="214" y="32"/>
                </a:cubicBezTo>
                <a:cubicBezTo>
                  <a:pt x="192" y="32"/>
                  <a:pt x="192" y="32"/>
                  <a:pt x="192" y="32"/>
                </a:cubicBezTo>
                <a:cubicBezTo>
                  <a:pt x="192" y="26"/>
                  <a:pt x="197" y="21"/>
                  <a:pt x="203" y="21"/>
                </a:cubicBezTo>
                <a:close/>
                <a:moveTo>
                  <a:pt x="43" y="96"/>
                </a:moveTo>
                <a:cubicBezTo>
                  <a:pt x="64" y="96"/>
                  <a:pt x="64" y="96"/>
                  <a:pt x="64" y="96"/>
                </a:cubicBezTo>
                <a:cubicBezTo>
                  <a:pt x="64" y="117"/>
                  <a:pt x="64" y="117"/>
                  <a:pt x="64" y="117"/>
                </a:cubicBezTo>
                <a:cubicBezTo>
                  <a:pt x="43" y="117"/>
                  <a:pt x="43" y="117"/>
                  <a:pt x="43" y="117"/>
                </a:cubicBezTo>
                <a:lnTo>
                  <a:pt x="43" y="96"/>
                </a:lnTo>
                <a:close/>
                <a:moveTo>
                  <a:pt x="107" y="96"/>
                </a:moveTo>
                <a:cubicBezTo>
                  <a:pt x="107" y="117"/>
                  <a:pt x="107" y="117"/>
                  <a:pt x="107" y="117"/>
                </a:cubicBezTo>
                <a:cubicBezTo>
                  <a:pt x="86" y="117"/>
                  <a:pt x="86" y="117"/>
                  <a:pt x="86" y="117"/>
                </a:cubicBezTo>
                <a:cubicBezTo>
                  <a:pt x="86" y="96"/>
                  <a:pt x="86" y="96"/>
                  <a:pt x="86" y="96"/>
                </a:cubicBezTo>
                <a:lnTo>
                  <a:pt x="107" y="96"/>
                </a:lnTo>
                <a:close/>
                <a:moveTo>
                  <a:pt x="150" y="96"/>
                </a:moveTo>
                <a:cubicBezTo>
                  <a:pt x="150" y="117"/>
                  <a:pt x="150" y="117"/>
                  <a:pt x="150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8" y="96"/>
                  <a:pt x="128" y="96"/>
                  <a:pt x="128" y="96"/>
                </a:cubicBezTo>
                <a:lnTo>
                  <a:pt x="150" y="96"/>
                </a:lnTo>
                <a:close/>
                <a:moveTo>
                  <a:pt x="192" y="96"/>
                </a:moveTo>
                <a:cubicBezTo>
                  <a:pt x="192" y="117"/>
                  <a:pt x="192" y="117"/>
                  <a:pt x="192" y="117"/>
                </a:cubicBezTo>
                <a:cubicBezTo>
                  <a:pt x="171" y="117"/>
                  <a:pt x="171" y="117"/>
                  <a:pt x="171" y="117"/>
                </a:cubicBezTo>
                <a:cubicBezTo>
                  <a:pt x="171" y="96"/>
                  <a:pt x="171" y="96"/>
                  <a:pt x="171" y="96"/>
                </a:cubicBezTo>
                <a:lnTo>
                  <a:pt x="192" y="96"/>
                </a:lnTo>
                <a:close/>
                <a:moveTo>
                  <a:pt x="43" y="138"/>
                </a:moveTo>
                <a:cubicBezTo>
                  <a:pt x="214" y="138"/>
                  <a:pt x="214" y="138"/>
                  <a:pt x="214" y="138"/>
                </a:cubicBezTo>
                <a:cubicBezTo>
                  <a:pt x="220" y="138"/>
                  <a:pt x="224" y="134"/>
                  <a:pt x="224" y="128"/>
                </a:cubicBezTo>
                <a:cubicBezTo>
                  <a:pt x="224" y="122"/>
                  <a:pt x="219" y="117"/>
                  <a:pt x="214" y="117"/>
                </a:cubicBezTo>
                <a:cubicBezTo>
                  <a:pt x="214" y="96"/>
                  <a:pt x="214" y="96"/>
                  <a:pt x="214" y="96"/>
                </a:cubicBezTo>
                <a:cubicBezTo>
                  <a:pt x="219" y="96"/>
                  <a:pt x="224" y="91"/>
                  <a:pt x="224" y="85"/>
                </a:cubicBezTo>
                <a:cubicBezTo>
                  <a:pt x="224" y="79"/>
                  <a:pt x="220" y="74"/>
                  <a:pt x="214" y="74"/>
                </a:cubicBezTo>
                <a:cubicBezTo>
                  <a:pt x="43" y="74"/>
                  <a:pt x="43" y="74"/>
                  <a:pt x="43" y="74"/>
                </a:cubicBezTo>
                <a:cubicBezTo>
                  <a:pt x="43" y="53"/>
                  <a:pt x="43" y="53"/>
                  <a:pt x="43" y="53"/>
                </a:cubicBezTo>
                <a:cubicBezTo>
                  <a:pt x="235" y="53"/>
                  <a:pt x="235" y="53"/>
                  <a:pt x="235" y="53"/>
                </a:cubicBezTo>
                <a:cubicBezTo>
                  <a:pt x="235" y="202"/>
                  <a:pt x="235" y="202"/>
                  <a:pt x="235" y="202"/>
                </a:cubicBezTo>
                <a:cubicBezTo>
                  <a:pt x="116" y="202"/>
                  <a:pt x="116" y="202"/>
                  <a:pt x="116" y="202"/>
                </a:cubicBezTo>
                <a:cubicBezTo>
                  <a:pt x="111" y="190"/>
                  <a:pt x="100" y="181"/>
                  <a:pt x="86" y="181"/>
                </a:cubicBezTo>
                <a:cubicBezTo>
                  <a:pt x="72" y="181"/>
                  <a:pt x="60" y="190"/>
                  <a:pt x="56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38"/>
                </a:lnTo>
                <a:close/>
                <a:moveTo>
                  <a:pt x="86" y="224"/>
                </a:moveTo>
                <a:cubicBezTo>
                  <a:pt x="80" y="224"/>
                  <a:pt x="75" y="219"/>
                  <a:pt x="75" y="213"/>
                </a:cubicBezTo>
                <a:cubicBezTo>
                  <a:pt x="75" y="207"/>
                  <a:pt x="80" y="202"/>
                  <a:pt x="86" y="202"/>
                </a:cubicBezTo>
                <a:cubicBezTo>
                  <a:pt x="92" y="202"/>
                  <a:pt x="96" y="207"/>
                  <a:pt x="96" y="213"/>
                </a:cubicBezTo>
                <a:cubicBezTo>
                  <a:pt x="96" y="219"/>
                  <a:pt x="92" y="224"/>
                  <a:pt x="86" y="224"/>
                </a:cubicBezTo>
                <a:close/>
                <a:moveTo>
                  <a:pt x="267" y="224"/>
                </a:moveTo>
                <a:cubicBezTo>
                  <a:pt x="261" y="224"/>
                  <a:pt x="256" y="219"/>
                  <a:pt x="256" y="213"/>
                </a:cubicBezTo>
                <a:cubicBezTo>
                  <a:pt x="256" y="207"/>
                  <a:pt x="261" y="202"/>
                  <a:pt x="267" y="202"/>
                </a:cubicBezTo>
                <a:cubicBezTo>
                  <a:pt x="273" y="202"/>
                  <a:pt x="278" y="207"/>
                  <a:pt x="278" y="213"/>
                </a:cubicBezTo>
                <a:cubicBezTo>
                  <a:pt x="278" y="219"/>
                  <a:pt x="273" y="224"/>
                  <a:pt x="267" y="224"/>
                </a:cubicBezTo>
                <a:close/>
                <a:moveTo>
                  <a:pt x="320" y="202"/>
                </a:moveTo>
                <a:cubicBezTo>
                  <a:pt x="297" y="202"/>
                  <a:pt x="297" y="202"/>
                  <a:pt x="297" y="202"/>
                </a:cubicBezTo>
                <a:cubicBezTo>
                  <a:pt x="293" y="190"/>
                  <a:pt x="281" y="181"/>
                  <a:pt x="267" y="181"/>
                </a:cubicBezTo>
                <a:cubicBezTo>
                  <a:pt x="263" y="181"/>
                  <a:pt x="260" y="182"/>
                  <a:pt x="256" y="183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10" y="117"/>
                  <a:pt x="310" y="117"/>
                  <a:pt x="310" y="117"/>
                </a:cubicBezTo>
                <a:cubicBezTo>
                  <a:pt x="316" y="117"/>
                  <a:pt x="320" y="122"/>
                  <a:pt x="320" y="128"/>
                </a:cubicBezTo>
                <a:lnTo>
                  <a:pt x="320" y="202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5" name="Freeform 539">
            <a:extLst>
              <a:ext uri="{FF2B5EF4-FFF2-40B4-BE49-F238E27FC236}">
                <a16:creationId xmlns:a16="http://schemas.microsoft.com/office/drawing/2014/main" id="{A85BC72A-06D0-DD07-136E-AFB05F04111E}"/>
              </a:ext>
            </a:extLst>
          </p:cNvPr>
          <p:cNvSpPr>
            <a:spLocks noEditPoints="1"/>
          </p:cNvSpPr>
          <p:nvPr/>
        </p:nvSpPr>
        <p:spPr bwMode="auto">
          <a:xfrm>
            <a:off x="4758373" y="4092587"/>
            <a:ext cx="234066" cy="381146"/>
          </a:xfrm>
          <a:custGeom>
            <a:avLst/>
            <a:gdLst>
              <a:gd name="T0" fmla="*/ 107 w 149"/>
              <a:gd name="T1" fmla="*/ 320 h 320"/>
              <a:gd name="T2" fmla="*/ 43 w 149"/>
              <a:gd name="T3" fmla="*/ 320 h 320"/>
              <a:gd name="T4" fmla="*/ 0 w 149"/>
              <a:gd name="T5" fmla="*/ 277 h 320"/>
              <a:gd name="T6" fmla="*/ 0 w 149"/>
              <a:gd name="T7" fmla="*/ 42 h 320"/>
              <a:gd name="T8" fmla="*/ 43 w 149"/>
              <a:gd name="T9" fmla="*/ 0 h 320"/>
              <a:gd name="T10" fmla="*/ 107 w 149"/>
              <a:gd name="T11" fmla="*/ 0 h 320"/>
              <a:gd name="T12" fmla="*/ 149 w 149"/>
              <a:gd name="T13" fmla="*/ 42 h 320"/>
              <a:gd name="T14" fmla="*/ 149 w 149"/>
              <a:gd name="T15" fmla="*/ 277 h 320"/>
              <a:gd name="T16" fmla="*/ 107 w 149"/>
              <a:gd name="T17" fmla="*/ 320 h 320"/>
              <a:gd name="T18" fmla="*/ 43 w 149"/>
              <a:gd name="T19" fmla="*/ 21 h 320"/>
              <a:gd name="T20" fmla="*/ 21 w 149"/>
              <a:gd name="T21" fmla="*/ 42 h 320"/>
              <a:gd name="T22" fmla="*/ 21 w 149"/>
              <a:gd name="T23" fmla="*/ 277 h 320"/>
              <a:gd name="T24" fmla="*/ 43 w 149"/>
              <a:gd name="T25" fmla="*/ 298 h 320"/>
              <a:gd name="T26" fmla="*/ 107 w 149"/>
              <a:gd name="T27" fmla="*/ 298 h 320"/>
              <a:gd name="T28" fmla="*/ 128 w 149"/>
              <a:gd name="T29" fmla="*/ 277 h 320"/>
              <a:gd name="T30" fmla="*/ 128 w 149"/>
              <a:gd name="T31" fmla="*/ 42 h 320"/>
              <a:gd name="T32" fmla="*/ 107 w 149"/>
              <a:gd name="T33" fmla="*/ 21 h 320"/>
              <a:gd name="T34" fmla="*/ 43 w 149"/>
              <a:gd name="T35" fmla="*/ 21 h 320"/>
              <a:gd name="T36" fmla="*/ 75 w 149"/>
              <a:gd name="T37" fmla="*/ 106 h 320"/>
              <a:gd name="T38" fmla="*/ 43 w 149"/>
              <a:gd name="T39" fmla="*/ 74 h 320"/>
              <a:gd name="T40" fmla="*/ 75 w 149"/>
              <a:gd name="T41" fmla="*/ 42 h 320"/>
              <a:gd name="T42" fmla="*/ 107 w 149"/>
              <a:gd name="T43" fmla="*/ 74 h 320"/>
              <a:gd name="T44" fmla="*/ 75 w 149"/>
              <a:gd name="T45" fmla="*/ 106 h 320"/>
              <a:gd name="T46" fmla="*/ 75 w 149"/>
              <a:gd name="T47" fmla="*/ 64 h 320"/>
              <a:gd name="T48" fmla="*/ 64 w 149"/>
              <a:gd name="T49" fmla="*/ 74 h 320"/>
              <a:gd name="T50" fmla="*/ 75 w 149"/>
              <a:gd name="T51" fmla="*/ 85 h 320"/>
              <a:gd name="T52" fmla="*/ 85 w 149"/>
              <a:gd name="T53" fmla="*/ 74 h 320"/>
              <a:gd name="T54" fmla="*/ 75 w 149"/>
              <a:gd name="T55" fmla="*/ 64 h 320"/>
              <a:gd name="T56" fmla="*/ 75 w 149"/>
              <a:gd name="T57" fmla="*/ 192 h 320"/>
              <a:gd name="T58" fmla="*/ 43 w 149"/>
              <a:gd name="T59" fmla="*/ 160 h 320"/>
              <a:gd name="T60" fmla="*/ 75 w 149"/>
              <a:gd name="T61" fmla="*/ 128 h 320"/>
              <a:gd name="T62" fmla="*/ 107 w 149"/>
              <a:gd name="T63" fmla="*/ 160 h 320"/>
              <a:gd name="T64" fmla="*/ 75 w 149"/>
              <a:gd name="T65" fmla="*/ 192 h 320"/>
              <a:gd name="T66" fmla="*/ 75 w 149"/>
              <a:gd name="T67" fmla="*/ 149 h 320"/>
              <a:gd name="T68" fmla="*/ 64 w 149"/>
              <a:gd name="T69" fmla="*/ 160 h 320"/>
              <a:gd name="T70" fmla="*/ 75 w 149"/>
              <a:gd name="T71" fmla="*/ 170 h 320"/>
              <a:gd name="T72" fmla="*/ 85 w 149"/>
              <a:gd name="T73" fmla="*/ 160 h 320"/>
              <a:gd name="T74" fmla="*/ 75 w 149"/>
              <a:gd name="T75" fmla="*/ 149 h 320"/>
              <a:gd name="T76" fmla="*/ 75 w 149"/>
              <a:gd name="T77" fmla="*/ 277 h 320"/>
              <a:gd name="T78" fmla="*/ 43 w 149"/>
              <a:gd name="T79" fmla="*/ 245 h 320"/>
              <a:gd name="T80" fmla="*/ 75 w 149"/>
              <a:gd name="T81" fmla="*/ 213 h 320"/>
              <a:gd name="T82" fmla="*/ 107 w 149"/>
              <a:gd name="T83" fmla="*/ 245 h 320"/>
              <a:gd name="T84" fmla="*/ 75 w 149"/>
              <a:gd name="T85" fmla="*/ 277 h 320"/>
              <a:gd name="T86" fmla="*/ 75 w 149"/>
              <a:gd name="T87" fmla="*/ 234 h 320"/>
              <a:gd name="T88" fmla="*/ 64 w 149"/>
              <a:gd name="T89" fmla="*/ 245 h 320"/>
              <a:gd name="T90" fmla="*/ 75 w 149"/>
              <a:gd name="T91" fmla="*/ 256 h 320"/>
              <a:gd name="T92" fmla="*/ 85 w 149"/>
              <a:gd name="T93" fmla="*/ 245 h 320"/>
              <a:gd name="T94" fmla="*/ 75 w 149"/>
              <a:gd name="T95" fmla="*/ 23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9" h="320">
                <a:moveTo>
                  <a:pt x="107" y="320"/>
                </a:moveTo>
                <a:cubicBezTo>
                  <a:pt x="43" y="320"/>
                  <a:pt x="43" y="320"/>
                  <a:pt x="43" y="320"/>
                </a:cubicBezTo>
                <a:cubicBezTo>
                  <a:pt x="19" y="320"/>
                  <a:pt x="0" y="301"/>
                  <a:pt x="0" y="27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3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30" y="0"/>
                  <a:pt x="149" y="19"/>
                  <a:pt x="149" y="42"/>
                </a:cubicBezTo>
                <a:cubicBezTo>
                  <a:pt x="149" y="277"/>
                  <a:pt x="149" y="277"/>
                  <a:pt x="149" y="277"/>
                </a:cubicBezTo>
                <a:cubicBezTo>
                  <a:pt x="149" y="301"/>
                  <a:pt x="130" y="320"/>
                  <a:pt x="107" y="320"/>
                </a:cubicBezTo>
                <a:close/>
                <a:moveTo>
                  <a:pt x="43" y="21"/>
                </a:moveTo>
                <a:cubicBezTo>
                  <a:pt x="31" y="21"/>
                  <a:pt x="21" y="31"/>
                  <a:pt x="21" y="42"/>
                </a:cubicBezTo>
                <a:cubicBezTo>
                  <a:pt x="21" y="277"/>
                  <a:pt x="21" y="277"/>
                  <a:pt x="21" y="277"/>
                </a:cubicBezTo>
                <a:cubicBezTo>
                  <a:pt x="21" y="289"/>
                  <a:pt x="31" y="298"/>
                  <a:pt x="43" y="298"/>
                </a:cubicBezTo>
                <a:cubicBezTo>
                  <a:pt x="107" y="298"/>
                  <a:pt x="107" y="298"/>
                  <a:pt x="107" y="298"/>
                </a:cubicBezTo>
                <a:cubicBezTo>
                  <a:pt x="118" y="298"/>
                  <a:pt x="128" y="289"/>
                  <a:pt x="128" y="277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128" y="31"/>
                  <a:pt x="118" y="21"/>
                  <a:pt x="107" y="21"/>
                </a:cubicBezTo>
                <a:lnTo>
                  <a:pt x="43" y="21"/>
                </a:lnTo>
                <a:close/>
                <a:moveTo>
                  <a:pt x="75" y="106"/>
                </a:moveTo>
                <a:cubicBezTo>
                  <a:pt x="57" y="106"/>
                  <a:pt x="43" y="92"/>
                  <a:pt x="43" y="74"/>
                </a:cubicBezTo>
                <a:cubicBezTo>
                  <a:pt x="43" y="57"/>
                  <a:pt x="57" y="42"/>
                  <a:pt x="75" y="42"/>
                </a:cubicBezTo>
                <a:cubicBezTo>
                  <a:pt x="92" y="42"/>
                  <a:pt x="107" y="57"/>
                  <a:pt x="107" y="74"/>
                </a:cubicBezTo>
                <a:cubicBezTo>
                  <a:pt x="107" y="92"/>
                  <a:pt x="92" y="106"/>
                  <a:pt x="75" y="106"/>
                </a:cubicBezTo>
                <a:close/>
                <a:moveTo>
                  <a:pt x="75" y="64"/>
                </a:moveTo>
                <a:cubicBezTo>
                  <a:pt x="69" y="64"/>
                  <a:pt x="64" y="68"/>
                  <a:pt x="64" y="74"/>
                </a:cubicBezTo>
                <a:cubicBezTo>
                  <a:pt x="64" y="80"/>
                  <a:pt x="69" y="85"/>
                  <a:pt x="75" y="85"/>
                </a:cubicBezTo>
                <a:cubicBezTo>
                  <a:pt x="81" y="85"/>
                  <a:pt x="85" y="80"/>
                  <a:pt x="85" y="74"/>
                </a:cubicBezTo>
                <a:cubicBezTo>
                  <a:pt x="85" y="68"/>
                  <a:pt x="81" y="64"/>
                  <a:pt x="75" y="64"/>
                </a:cubicBezTo>
                <a:close/>
                <a:moveTo>
                  <a:pt x="75" y="192"/>
                </a:moveTo>
                <a:cubicBezTo>
                  <a:pt x="57" y="192"/>
                  <a:pt x="43" y="177"/>
                  <a:pt x="43" y="160"/>
                </a:cubicBezTo>
                <a:cubicBezTo>
                  <a:pt x="43" y="142"/>
                  <a:pt x="57" y="128"/>
                  <a:pt x="75" y="128"/>
                </a:cubicBezTo>
                <a:cubicBezTo>
                  <a:pt x="92" y="128"/>
                  <a:pt x="107" y="142"/>
                  <a:pt x="107" y="160"/>
                </a:cubicBezTo>
                <a:cubicBezTo>
                  <a:pt x="107" y="177"/>
                  <a:pt x="92" y="192"/>
                  <a:pt x="75" y="192"/>
                </a:cubicBezTo>
                <a:close/>
                <a:moveTo>
                  <a:pt x="75" y="149"/>
                </a:moveTo>
                <a:cubicBezTo>
                  <a:pt x="69" y="149"/>
                  <a:pt x="64" y="154"/>
                  <a:pt x="64" y="160"/>
                </a:cubicBezTo>
                <a:cubicBezTo>
                  <a:pt x="64" y="166"/>
                  <a:pt x="69" y="170"/>
                  <a:pt x="75" y="170"/>
                </a:cubicBezTo>
                <a:cubicBezTo>
                  <a:pt x="81" y="170"/>
                  <a:pt x="85" y="166"/>
                  <a:pt x="85" y="160"/>
                </a:cubicBezTo>
                <a:cubicBezTo>
                  <a:pt x="85" y="154"/>
                  <a:pt x="81" y="149"/>
                  <a:pt x="75" y="149"/>
                </a:cubicBezTo>
                <a:close/>
                <a:moveTo>
                  <a:pt x="75" y="277"/>
                </a:moveTo>
                <a:cubicBezTo>
                  <a:pt x="57" y="277"/>
                  <a:pt x="43" y="263"/>
                  <a:pt x="43" y="245"/>
                </a:cubicBezTo>
                <a:cubicBezTo>
                  <a:pt x="43" y="227"/>
                  <a:pt x="57" y="213"/>
                  <a:pt x="75" y="213"/>
                </a:cubicBezTo>
                <a:cubicBezTo>
                  <a:pt x="92" y="213"/>
                  <a:pt x="107" y="227"/>
                  <a:pt x="107" y="245"/>
                </a:cubicBezTo>
                <a:cubicBezTo>
                  <a:pt x="107" y="263"/>
                  <a:pt x="92" y="277"/>
                  <a:pt x="75" y="277"/>
                </a:cubicBezTo>
                <a:close/>
                <a:moveTo>
                  <a:pt x="75" y="234"/>
                </a:moveTo>
                <a:cubicBezTo>
                  <a:pt x="69" y="234"/>
                  <a:pt x="64" y="239"/>
                  <a:pt x="64" y="245"/>
                </a:cubicBezTo>
                <a:cubicBezTo>
                  <a:pt x="64" y="251"/>
                  <a:pt x="69" y="256"/>
                  <a:pt x="75" y="256"/>
                </a:cubicBezTo>
                <a:cubicBezTo>
                  <a:pt x="81" y="256"/>
                  <a:pt x="85" y="251"/>
                  <a:pt x="85" y="245"/>
                </a:cubicBezTo>
                <a:cubicBezTo>
                  <a:pt x="85" y="239"/>
                  <a:pt x="81" y="234"/>
                  <a:pt x="75" y="234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D1ABD0C1-D1B1-B59A-ED80-6E115E61BB1E}"/>
              </a:ext>
            </a:extLst>
          </p:cNvPr>
          <p:cNvCxnSpPr/>
          <p:nvPr/>
        </p:nvCxnSpPr>
        <p:spPr>
          <a:xfrm flipV="1">
            <a:off x="3664454" y="4254991"/>
            <a:ext cx="180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57" name="Rectangle 156">
            <a:extLst>
              <a:ext uri="{FF2B5EF4-FFF2-40B4-BE49-F238E27FC236}">
                <a16:creationId xmlns:a16="http://schemas.microsoft.com/office/drawing/2014/main" id="{7C958DE8-F169-8A22-1832-2F32914AECC6}"/>
              </a:ext>
            </a:extLst>
          </p:cNvPr>
          <p:cNvSpPr/>
          <p:nvPr/>
        </p:nvSpPr>
        <p:spPr>
          <a:xfrm>
            <a:off x="4456991" y="4439596"/>
            <a:ext cx="867545" cy="3110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lnSpc>
                <a:spcPct val="106000"/>
              </a:lnSpc>
            </a:pPr>
            <a:r>
              <a:rPr lang="cs-CZ" sz="1400" dirty="0">
                <a:solidFill>
                  <a:prstClr val="black"/>
                </a:solidFill>
                <a:cs typeface="Calibri" panose="020F0502020204030204" pitchFamily="34" charset="0"/>
              </a:rPr>
              <a:t>Řadič SSZ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grpSp>
        <p:nvGrpSpPr>
          <p:cNvPr id="158" name="Group 620">
            <a:extLst>
              <a:ext uri="{FF2B5EF4-FFF2-40B4-BE49-F238E27FC236}">
                <a16:creationId xmlns:a16="http://schemas.microsoft.com/office/drawing/2014/main" id="{283C7FD2-C9D2-D0E4-F433-9A2213A4CC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95395" y="4101196"/>
            <a:ext cx="421416" cy="304917"/>
            <a:chOff x="3523" y="2448"/>
            <a:chExt cx="212" cy="157"/>
          </a:xfrm>
          <a:solidFill>
            <a:sysClr val="windowText" lastClr="000000"/>
          </a:solidFill>
        </p:grpSpPr>
        <p:sp>
          <p:nvSpPr>
            <p:cNvPr id="159" name="Freeform 622">
              <a:extLst>
                <a:ext uri="{FF2B5EF4-FFF2-40B4-BE49-F238E27FC236}">
                  <a16:creationId xmlns:a16="http://schemas.microsoft.com/office/drawing/2014/main" id="{145DA277-C763-CA88-2B04-CCFC2A7C55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3" y="2448"/>
              <a:ext cx="85" cy="157"/>
            </a:xfrm>
            <a:custGeom>
              <a:avLst/>
              <a:gdLst>
                <a:gd name="T0" fmla="*/ 93 w 128"/>
                <a:gd name="T1" fmla="*/ 4 h 236"/>
                <a:gd name="T2" fmla="*/ 77 w 128"/>
                <a:gd name="T3" fmla="*/ 4 h 236"/>
                <a:gd name="T4" fmla="*/ 77 w 128"/>
                <a:gd name="T5" fmla="*/ 20 h 236"/>
                <a:gd name="T6" fmla="*/ 106 w 128"/>
                <a:gd name="T7" fmla="*/ 48 h 236"/>
                <a:gd name="T8" fmla="*/ 106 w 128"/>
                <a:gd name="T9" fmla="*/ 76 h 236"/>
                <a:gd name="T10" fmla="*/ 85 w 128"/>
                <a:gd name="T11" fmla="*/ 76 h 236"/>
                <a:gd name="T12" fmla="*/ 74 w 128"/>
                <a:gd name="T13" fmla="*/ 65 h 236"/>
                <a:gd name="T14" fmla="*/ 64 w 128"/>
                <a:gd name="T15" fmla="*/ 76 h 236"/>
                <a:gd name="T16" fmla="*/ 42 w 128"/>
                <a:gd name="T17" fmla="*/ 76 h 236"/>
                <a:gd name="T18" fmla="*/ 32 w 128"/>
                <a:gd name="T19" fmla="*/ 65 h 236"/>
                <a:gd name="T20" fmla="*/ 21 w 128"/>
                <a:gd name="T21" fmla="*/ 76 h 236"/>
                <a:gd name="T22" fmla="*/ 10 w 128"/>
                <a:gd name="T23" fmla="*/ 76 h 236"/>
                <a:gd name="T24" fmla="*/ 0 w 128"/>
                <a:gd name="T25" fmla="*/ 87 h 236"/>
                <a:gd name="T26" fmla="*/ 10 w 128"/>
                <a:gd name="T27" fmla="*/ 97 h 236"/>
                <a:gd name="T28" fmla="*/ 21 w 128"/>
                <a:gd name="T29" fmla="*/ 97 h 236"/>
                <a:gd name="T30" fmla="*/ 21 w 128"/>
                <a:gd name="T31" fmla="*/ 140 h 236"/>
                <a:gd name="T32" fmla="*/ 10 w 128"/>
                <a:gd name="T33" fmla="*/ 140 h 236"/>
                <a:gd name="T34" fmla="*/ 0 w 128"/>
                <a:gd name="T35" fmla="*/ 151 h 236"/>
                <a:gd name="T36" fmla="*/ 10 w 128"/>
                <a:gd name="T37" fmla="*/ 161 h 236"/>
                <a:gd name="T38" fmla="*/ 21 w 128"/>
                <a:gd name="T39" fmla="*/ 161 h 236"/>
                <a:gd name="T40" fmla="*/ 32 w 128"/>
                <a:gd name="T41" fmla="*/ 172 h 236"/>
                <a:gd name="T42" fmla="*/ 42 w 128"/>
                <a:gd name="T43" fmla="*/ 161 h 236"/>
                <a:gd name="T44" fmla="*/ 64 w 128"/>
                <a:gd name="T45" fmla="*/ 161 h 236"/>
                <a:gd name="T46" fmla="*/ 74 w 128"/>
                <a:gd name="T47" fmla="*/ 172 h 236"/>
                <a:gd name="T48" fmla="*/ 85 w 128"/>
                <a:gd name="T49" fmla="*/ 161 h 236"/>
                <a:gd name="T50" fmla="*/ 106 w 128"/>
                <a:gd name="T51" fmla="*/ 161 h 236"/>
                <a:gd name="T52" fmla="*/ 106 w 128"/>
                <a:gd name="T53" fmla="*/ 189 h 236"/>
                <a:gd name="T54" fmla="*/ 77 w 128"/>
                <a:gd name="T55" fmla="*/ 218 h 236"/>
                <a:gd name="T56" fmla="*/ 77 w 128"/>
                <a:gd name="T57" fmla="*/ 233 h 236"/>
                <a:gd name="T58" fmla="*/ 85 w 128"/>
                <a:gd name="T59" fmla="*/ 236 h 236"/>
                <a:gd name="T60" fmla="*/ 93 w 128"/>
                <a:gd name="T61" fmla="*/ 233 h 236"/>
                <a:gd name="T62" fmla="*/ 125 w 128"/>
                <a:gd name="T63" fmla="*/ 201 h 236"/>
                <a:gd name="T64" fmla="*/ 128 w 128"/>
                <a:gd name="T65" fmla="*/ 193 h 236"/>
                <a:gd name="T66" fmla="*/ 128 w 128"/>
                <a:gd name="T67" fmla="*/ 44 h 236"/>
                <a:gd name="T68" fmla="*/ 125 w 128"/>
                <a:gd name="T69" fmla="*/ 36 h 236"/>
                <a:gd name="T70" fmla="*/ 93 w 128"/>
                <a:gd name="T71" fmla="*/ 4 h 236"/>
                <a:gd name="T72" fmla="*/ 42 w 128"/>
                <a:gd name="T73" fmla="*/ 140 h 236"/>
                <a:gd name="T74" fmla="*/ 42 w 128"/>
                <a:gd name="T75" fmla="*/ 97 h 236"/>
                <a:gd name="T76" fmla="*/ 64 w 128"/>
                <a:gd name="T77" fmla="*/ 97 h 236"/>
                <a:gd name="T78" fmla="*/ 64 w 128"/>
                <a:gd name="T79" fmla="*/ 140 h 236"/>
                <a:gd name="T80" fmla="*/ 42 w 128"/>
                <a:gd name="T81" fmla="*/ 140 h 236"/>
                <a:gd name="T82" fmla="*/ 85 w 128"/>
                <a:gd name="T83" fmla="*/ 140 h 236"/>
                <a:gd name="T84" fmla="*/ 85 w 128"/>
                <a:gd name="T85" fmla="*/ 97 h 236"/>
                <a:gd name="T86" fmla="*/ 106 w 128"/>
                <a:gd name="T87" fmla="*/ 97 h 236"/>
                <a:gd name="T88" fmla="*/ 106 w 128"/>
                <a:gd name="T89" fmla="*/ 140 h 236"/>
                <a:gd name="T90" fmla="*/ 85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93" y="4"/>
                  </a:moveTo>
                  <a:cubicBezTo>
                    <a:pt x="88" y="0"/>
                    <a:pt x="82" y="0"/>
                    <a:pt x="77" y="4"/>
                  </a:cubicBezTo>
                  <a:cubicBezTo>
                    <a:pt x="73" y="9"/>
                    <a:pt x="73" y="15"/>
                    <a:pt x="77" y="20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5" y="70"/>
                    <a:pt x="80" y="65"/>
                    <a:pt x="74" y="65"/>
                  </a:cubicBezTo>
                  <a:cubicBezTo>
                    <a:pt x="68" y="65"/>
                    <a:pt x="64" y="70"/>
                    <a:pt x="64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0"/>
                    <a:pt x="38" y="65"/>
                    <a:pt x="32" y="65"/>
                  </a:cubicBezTo>
                  <a:cubicBezTo>
                    <a:pt x="26" y="65"/>
                    <a:pt x="21" y="70"/>
                    <a:pt x="21" y="76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4" y="76"/>
                    <a:pt x="0" y="81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1" y="140"/>
                    <a:pt x="21" y="140"/>
                    <a:pt x="21" y="140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4" y="140"/>
                    <a:pt x="0" y="145"/>
                    <a:pt x="0" y="151"/>
                  </a:cubicBezTo>
                  <a:cubicBezTo>
                    <a:pt x="0" y="157"/>
                    <a:pt x="4" y="161"/>
                    <a:pt x="10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167"/>
                    <a:pt x="26" y="172"/>
                    <a:pt x="32" y="172"/>
                  </a:cubicBezTo>
                  <a:cubicBezTo>
                    <a:pt x="38" y="172"/>
                    <a:pt x="42" y="167"/>
                    <a:pt x="42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4" y="167"/>
                    <a:pt x="68" y="172"/>
                    <a:pt x="74" y="172"/>
                  </a:cubicBezTo>
                  <a:cubicBezTo>
                    <a:pt x="80" y="172"/>
                    <a:pt x="85" y="167"/>
                    <a:pt x="85" y="161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77" y="218"/>
                    <a:pt x="77" y="218"/>
                    <a:pt x="77" y="218"/>
                  </a:cubicBezTo>
                  <a:cubicBezTo>
                    <a:pt x="73" y="222"/>
                    <a:pt x="73" y="229"/>
                    <a:pt x="77" y="233"/>
                  </a:cubicBezTo>
                  <a:cubicBezTo>
                    <a:pt x="80" y="235"/>
                    <a:pt x="82" y="236"/>
                    <a:pt x="85" y="236"/>
                  </a:cubicBezTo>
                  <a:cubicBezTo>
                    <a:pt x="88" y="236"/>
                    <a:pt x="90" y="235"/>
                    <a:pt x="93" y="233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7" y="199"/>
                    <a:pt x="128" y="196"/>
                    <a:pt x="128" y="193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1"/>
                    <a:pt x="127" y="38"/>
                    <a:pt x="125" y="36"/>
                  </a:cubicBezTo>
                  <a:lnTo>
                    <a:pt x="93" y="4"/>
                  </a:lnTo>
                  <a:close/>
                  <a:moveTo>
                    <a:pt x="42" y="140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140"/>
                    <a:pt x="64" y="140"/>
                    <a:pt x="64" y="140"/>
                  </a:cubicBezTo>
                  <a:lnTo>
                    <a:pt x="42" y="140"/>
                  </a:lnTo>
                  <a:close/>
                  <a:moveTo>
                    <a:pt x="85" y="140"/>
                  </a:moveTo>
                  <a:cubicBezTo>
                    <a:pt x="85" y="97"/>
                    <a:pt x="85" y="97"/>
                    <a:pt x="85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140"/>
                    <a:pt x="106" y="140"/>
                    <a:pt x="106" y="140"/>
                  </a:cubicBezTo>
                  <a:lnTo>
                    <a:pt x="8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623">
              <a:extLst>
                <a:ext uri="{FF2B5EF4-FFF2-40B4-BE49-F238E27FC236}">
                  <a16:creationId xmlns:a16="http://schemas.microsoft.com/office/drawing/2014/main" id="{B069EF35-468B-ED65-CAA2-CAEB7F7C9F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0" y="2448"/>
              <a:ext cx="85" cy="157"/>
            </a:xfrm>
            <a:custGeom>
              <a:avLst/>
              <a:gdLst>
                <a:gd name="T0" fmla="*/ 117 w 128"/>
                <a:gd name="T1" fmla="*/ 140 h 236"/>
                <a:gd name="T2" fmla="*/ 106 w 128"/>
                <a:gd name="T3" fmla="*/ 140 h 236"/>
                <a:gd name="T4" fmla="*/ 106 w 128"/>
                <a:gd name="T5" fmla="*/ 97 h 236"/>
                <a:gd name="T6" fmla="*/ 117 w 128"/>
                <a:gd name="T7" fmla="*/ 97 h 236"/>
                <a:gd name="T8" fmla="*/ 128 w 128"/>
                <a:gd name="T9" fmla="*/ 87 h 236"/>
                <a:gd name="T10" fmla="*/ 117 w 128"/>
                <a:gd name="T11" fmla="*/ 76 h 236"/>
                <a:gd name="T12" fmla="*/ 106 w 128"/>
                <a:gd name="T13" fmla="*/ 76 h 236"/>
                <a:gd name="T14" fmla="*/ 96 w 128"/>
                <a:gd name="T15" fmla="*/ 65 h 236"/>
                <a:gd name="T16" fmla="*/ 85 w 128"/>
                <a:gd name="T17" fmla="*/ 76 h 236"/>
                <a:gd name="T18" fmla="*/ 64 w 128"/>
                <a:gd name="T19" fmla="*/ 76 h 236"/>
                <a:gd name="T20" fmla="*/ 53 w 128"/>
                <a:gd name="T21" fmla="*/ 65 h 236"/>
                <a:gd name="T22" fmla="*/ 42 w 128"/>
                <a:gd name="T23" fmla="*/ 76 h 236"/>
                <a:gd name="T24" fmla="*/ 21 w 128"/>
                <a:gd name="T25" fmla="*/ 76 h 236"/>
                <a:gd name="T26" fmla="*/ 21 w 128"/>
                <a:gd name="T27" fmla="*/ 48 h 236"/>
                <a:gd name="T28" fmla="*/ 50 w 128"/>
                <a:gd name="T29" fmla="*/ 20 h 236"/>
                <a:gd name="T30" fmla="*/ 50 w 128"/>
                <a:gd name="T31" fmla="*/ 4 h 236"/>
                <a:gd name="T32" fmla="*/ 35 w 128"/>
                <a:gd name="T33" fmla="*/ 4 h 236"/>
                <a:gd name="T34" fmla="*/ 3 w 128"/>
                <a:gd name="T35" fmla="*/ 36 h 236"/>
                <a:gd name="T36" fmla="*/ 0 w 128"/>
                <a:gd name="T37" fmla="*/ 44 h 236"/>
                <a:gd name="T38" fmla="*/ 0 w 128"/>
                <a:gd name="T39" fmla="*/ 193 h 236"/>
                <a:gd name="T40" fmla="*/ 3 w 128"/>
                <a:gd name="T41" fmla="*/ 201 h 236"/>
                <a:gd name="T42" fmla="*/ 35 w 128"/>
                <a:gd name="T43" fmla="*/ 233 h 236"/>
                <a:gd name="T44" fmla="*/ 42 w 128"/>
                <a:gd name="T45" fmla="*/ 236 h 236"/>
                <a:gd name="T46" fmla="*/ 50 w 128"/>
                <a:gd name="T47" fmla="*/ 233 h 236"/>
                <a:gd name="T48" fmla="*/ 50 w 128"/>
                <a:gd name="T49" fmla="*/ 218 h 236"/>
                <a:gd name="T50" fmla="*/ 21 w 128"/>
                <a:gd name="T51" fmla="*/ 189 h 236"/>
                <a:gd name="T52" fmla="*/ 21 w 128"/>
                <a:gd name="T53" fmla="*/ 161 h 236"/>
                <a:gd name="T54" fmla="*/ 42 w 128"/>
                <a:gd name="T55" fmla="*/ 161 h 236"/>
                <a:gd name="T56" fmla="*/ 53 w 128"/>
                <a:gd name="T57" fmla="*/ 172 h 236"/>
                <a:gd name="T58" fmla="*/ 64 w 128"/>
                <a:gd name="T59" fmla="*/ 161 h 236"/>
                <a:gd name="T60" fmla="*/ 85 w 128"/>
                <a:gd name="T61" fmla="*/ 161 h 236"/>
                <a:gd name="T62" fmla="*/ 96 w 128"/>
                <a:gd name="T63" fmla="*/ 172 h 236"/>
                <a:gd name="T64" fmla="*/ 106 w 128"/>
                <a:gd name="T65" fmla="*/ 161 h 236"/>
                <a:gd name="T66" fmla="*/ 117 w 128"/>
                <a:gd name="T67" fmla="*/ 161 h 236"/>
                <a:gd name="T68" fmla="*/ 128 w 128"/>
                <a:gd name="T69" fmla="*/ 151 h 236"/>
                <a:gd name="T70" fmla="*/ 117 w 128"/>
                <a:gd name="T71" fmla="*/ 140 h 236"/>
                <a:gd name="T72" fmla="*/ 21 w 128"/>
                <a:gd name="T73" fmla="*/ 140 h 236"/>
                <a:gd name="T74" fmla="*/ 21 w 128"/>
                <a:gd name="T75" fmla="*/ 97 h 236"/>
                <a:gd name="T76" fmla="*/ 42 w 128"/>
                <a:gd name="T77" fmla="*/ 97 h 236"/>
                <a:gd name="T78" fmla="*/ 42 w 128"/>
                <a:gd name="T79" fmla="*/ 140 h 236"/>
                <a:gd name="T80" fmla="*/ 21 w 128"/>
                <a:gd name="T81" fmla="*/ 140 h 236"/>
                <a:gd name="T82" fmla="*/ 64 w 128"/>
                <a:gd name="T83" fmla="*/ 140 h 236"/>
                <a:gd name="T84" fmla="*/ 64 w 128"/>
                <a:gd name="T85" fmla="*/ 97 h 236"/>
                <a:gd name="T86" fmla="*/ 85 w 128"/>
                <a:gd name="T87" fmla="*/ 97 h 236"/>
                <a:gd name="T88" fmla="*/ 85 w 128"/>
                <a:gd name="T89" fmla="*/ 140 h 236"/>
                <a:gd name="T90" fmla="*/ 64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117" y="140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17" y="97"/>
                    <a:pt x="117" y="97"/>
                    <a:pt x="117" y="97"/>
                  </a:cubicBezTo>
                  <a:cubicBezTo>
                    <a:pt x="123" y="97"/>
                    <a:pt x="128" y="93"/>
                    <a:pt x="128" y="87"/>
                  </a:cubicBezTo>
                  <a:cubicBezTo>
                    <a:pt x="128" y="81"/>
                    <a:pt x="123" y="76"/>
                    <a:pt x="117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0"/>
                    <a:pt x="102" y="65"/>
                    <a:pt x="96" y="65"/>
                  </a:cubicBezTo>
                  <a:cubicBezTo>
                    <a:pt x="90" y="65"/>
                    <a:pt x="85" y="70"/>
                    <a:pt x="85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0"/>
                    <a:pt x="59" y="65"/>
                    <a:pt x="53" y="65"/>
                  </a:cubicBezTo>
                  <a:cubicBezTo>
                    <a:pt x="47" y="65"/>
                    <a:pt x="42" y="70"/>
                    <a:pt x="42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4" y="15"/>
                    <a:pt x="54" y="9"/>
                    <a:pt x="50" y="4"/>
                  </a:cubicBezTo>
                  <a:cubicBezTo>
                    <a:pt x="46" y="0"/>
                    <a:pt x="39" y="0"/>
                    <a:pt x="35" y="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" y="38"/>
                    <a:pt x="0" y="41"/>
                    <a:pt x="0" y="44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6"/>
                    <a:pt x="1" y="199"/>
                    <a:pt x="3" y="201"/>
                  </a:cubicBezTo>
                  <a:cubicBezTo>
                    <a:pt x="35" y="233"/>
                    <a:pt x="35" y="233"/>
                    <a:pt x="35" y="233"/>
                  </a:cubicBezTo>
                  <a:cubicBezTo>
                    <a:pt x="37" y="235"/>
                    <a:pt x="40" y="236"/>
                    <a:pt x="42" y="236"/>
                  </a:cubicBezTo>
                  <a:cubicBezTo>
                    <a:pt x="45" y="236"/>
                    <a:pt x="48" y="235"/>
                    <a:pt x="50" y="233"/>
                  </a:cubicBezTo>
                  <a:cubicBezTo>
                    <a:pt x="54" y="229"/>
                    <a:pt x="54" y="222"/>
                    <a:pt x="50" y="218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42" y="161"/>
                    <a:pt x="42" y="161"/>
                    <a:pt x="42" y="161"/>
                  </a:cubicBezTo>
                  <a:cubicBezTo>
                    <a:pt x="42" y="167"/>
                    <a:pt x="47" y="172"/>
                    <a:pt x="53" y="172"/>
                  </a:cubicBezTo>
                  <a:cubicBezTo>
                    <a:pt x="59" y="172"/>
                    <a:pt x="64" y="167"/>
                    <a:pt x="64" y="161"/>
                  </a:cubicBezTo>
                  <a:cubicBezTo>
                    <a:pt x="85" y="161"/>
                    <a:pt x="85" y="161"/>
                    <a:pt x="85" y="161"/>
                  </a:cubicBezTo>
                  <a:cubicBezTo>
                    <a:pt x="85" y="167"/>
                    <a:pt x="90" y="172"/>
                    <a:pt x="96" y="172"/>
                  </a:cubicBezTo>
                  <a:cubicBezTo>
                    <a:pt x="102" y="172"/>
                    <a:pt x="106" y="167"/>
                    <a:pt x="106" y="161"/>
                  </a:cubicBezTo>
                  <a:cubicBezTo>
                    <a:pt x="117" y="161"/>
                    <a:pt x="117" y="161"/>
                    <a:pt x="117" y="161"/>
                  </a:cubicBezTo>
                  <a:cubicBezTo>
                    <a:pt x="123" y="161"/>
                    <a:pt x="128" y="157"/>
                    <a:pt x="128" y="151"/>
                  </a:cubicBezTo>
                  <a:cubicBezTo>
                    <a:pt x="128" y="145"/>
                    <a:pt x="123" y="140"/>
                    <a:pt x="117" y="140"/>
                  </a:cubicBezTo>
                  <a:close/>
                  <a:moveTo>
                    <a:pt x="21" y="14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40"/>
                    <a:pt x="42" y="140"/>
                    <a:pt x="42" y="140"/>
                  </a:cubicBezTo>
                  <a:lnTo>
                    <a:pt x="21" y="140"/>
                  </a:lnTo>
                  <a:close/>
                  <a:moveTo>
                    <a:pt x="64" y="140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40"/>
                    <a:pt x="85" y="140"/>
                    <a:pt x="85" y="140"/>
                  </a:cubicBezTo>
                  <a:lnTo>
                    <a:pt x="64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1139839E-651A-6553-D3BC-8BB4187AD57C}"/>
              </a:ext>
            </a:extLst>
          </p:cNvPr>
          <p:cNvCxnSpPr/>
          <p:nvPr/>
        </p:nvCxnSpPr>
        <p:spPr>
          <a:xfrm flipV="1">
            <a:off x="5053216" y="4290787"/>
            <a:ext cx="294113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62" name="Rectangle 161">
            <a:extLst>
              <a:ext uri="{FF2B5EF4-FFF2-40B4-BE49-F238E27FC236}">
                <a16:creationId xmlns:a16="http://schemas.microsoft.com/office/drawing/2014/main" id="{35DDF01C-6297-9E66-B908-3BA265BD3499}"/>
              </a:ext>
            </a:extLst>
          </p:cNvPr>
          <p:cNvSpPr/>
          <p:nvPr/>
        </p:nvSpPr>
        <p:spPr>
          <a:xfrm>
            <a:off x="3052649" y="4392906"/>
            <a:ext cx="7986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cs-CZ" sz="1400" dirty="0">
                <a:solidFill>
                  <a:prstClr val="black"/>
                </a:solidFill>
                <a:cs typeface="Calibri" panose="020F0502020204030204" pitchFamily="34" charset="0"/>
              </a:rPr>
              <a:t>Přejezd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grpSp>
        <p:nvGrpSpPr>
          <p:cNvPr id="163" name="Group 890">
            <a:extLst>
              <a:ext uri="{FF2B5EF4-FFF2-40B4-BE49-F238E27FC236}">
                <a16:creationId xmlns:a16="http://schemas.microsoft.com/office/drawing/2014/main" id="{C6AA468C-4D53-5067-F6B8-C608048BD7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28366" y="4839125"/>
            <a:ext cx="138378" cy="304917"/>
            <a:chOff x="1273" y="3168"/>
            <a:chExt cx="94" cy="212"/>
          </a:xfrm>
          <a:solidFill>
            <a:sysClr val="windowText" lastClr="000000"/>
          </a:solidFill>
        </p:grpSpPr>
        <p:sp>
          <p:nvSpPr>
            <p:cNvPr id="164" name="Freeform 891">
              <a:extLst>
                <a:ext uri="{FF2B5EF4-FFF2-40B4-BE49-F238E27FC236}">
                  <a16:creationId xmlns:a16="http://schemas.microsoft.com/office/drawing/2014/main" id="{37D0D6A5-6CB7-8FE1-D989-4F7096155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2" y="3168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1 w 64"/>
                <a:gd name="T13" fmla="*/ 32 h 64"/>
                <a:gd name="T14" fmla="*/ 32 w 64"/>
                <a:gd name="T15" fmla="*/ 42 h 64"/>
                <a:gd name="T16" fmla="*/ 4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892">
              <a:extLst>
                <a:ext uri="{FF2B5EF4-FFF2-40B4-BE49-F238E27FC236}">
                  <a16:creationId xmlns:a16="http://schemas.microsoft.com/office/drawing/2014/main" id="{4D781D32-7EFF-1511-6AB9-8FA5CE21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" y="3217"/>
              <a:ext cx="78" cy="163"/>
            </a:xfrm>
            <a:custGeom>
              <a:avLst/>
              <a:gdLst>
                <a:gd name="T0" fmla="*/ 107 w 118"/>
                <a:gd name="T1" fmla="*/ 246 h 246"/>
                <a:gd name="T2" fmla="*/ 96 w 118"/>
                <a:gd name="T3" fmla="*/ 237 h 246"/>
                <a:gd name="T4" fmla="*/ 86 w 118"/>
                <a:gd name="T5" fmla="*/ 165 h 246"/>
                <a:gd name="T6" fmla="*/ 45 w 118"/>
                <a:gd name="T7" fmla="*/ 114 h 246"/>
                <a:gd name="T8" fmla="*/ 43 w 118"/>
                <a:gd name="T9" fmla="*/ 107 h 246"/>
                <a:gd name="T10" fmla="*/ 43 w 118"/>
                <a:gd name="T11" fmla="*/ 32 h 246"/>
                <a:gd name="T12" fmla="*/ 22 w 118"/>
                <a:gd name="T13" fmla="*/ 48 h 246"/>
                <a:gd name="T14" fmla="*/ 22 w 118"/>
                <a:gd name="T15" fmla="*/ 118 h 246"/>
                <a:gd name="T16" fmla="*/ 11 w 118"/>
                <a:gd name="T17" fmla="*/ 128 h 246"/>
                <a:gd name="T18" fmla="*/ 0 w 118"/>
                <a:gd name="T19" fmla="*/ 118 h 246"/>
                <a:gd name="T20" fmla="*/ 0 w 118"/>
                <a:gd name="T21" fmla="*/ 43 h 246"/>
                <a:gd name="T22" fmla="*/ 5 w 118"/>
                <a:gd name="T23" fmla="*/ 34 h 246"/>
                <a:gd name="T24" fmla="*/ 47 w 118"/>
                <a:gd name="T25" fmla="*/ 2 h 246"/>
                <a:gd name="T26" fmla="*/ 58 w 118"/>
                <a:gd name="T27" fmla="*/ 1 h 246"/>
                <a:gd name="T28" fmla="*/ 64 w 118"/>
                <a:gd name="T29" fmla="*/ 11 h 246"/>
                <a:gd name="T30" fmla="*/ 64 w 118"/>
                <a:gd name="T31" fmla="*/ 103 h 246"/>
                <a:gd name="T32" fmla="*/ 105 w 118"/>
                <a:gd name="T33" fmla="*/ 154 h 246"/>
                <a:gd name="T34" fmla="*/ 107 w 118"/>
                <a:gd name="T35" fmla="*/ 159 h 246"/>
                <a:gd name="T36" fmla="*/ 118 w 118"/>
                <a:gd name="T37" fmla="*/ 233 h 246"/>
                <a:gd name="T38" fmla="*/ 109 w 118"/>
                <a:gd name="T39" fmla="*/ 246 h 246"/>
                <a:gd name="T40" fmla="*/ 107 w 118"/>
                <a:gd name="T41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246">
                  <a:moveTo>
                    <a:pt x="107" y="246"/>
                  </a:moveTo>
                  <a:cubicBezTo>
                    <a:pt x="102" y="246"/>
                    <a:pt x="97" y="242"/>
                    <a:pt x="96" y="237"/>
                  </a:cubicBezTo>
                  <a:cubicBezTo>
                    <a:pt x="86" y="165"/>
                    <a:pt x="86" y="165"/>
                    <a:pt x="86" y="165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4" y="112"/>
                    <a:pt x="43" y="109"/>
                    <a:pt x="43" y="107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22" y="124"/>
                    <a:pt x="17" y="128"/>
                    <a:pt x="11" y="128"/>
                  </a:cubicBezTo>
                  <a:cubicBezTo>
                    <a:pt x="5" y="128"/>
                    <a:pt x="0" y="124"/>
                    <a:pt x="0" y="11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0"/>
                    <a:pt x="2" y="36"/>
                    <a:pt x="5" y="3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51" y="0"/>
                    <a:pt x="55" y="0"/>
                    <a:pt x="58" y="1"/>
                  </a:cubicBezTo>
                  <a:cubicBezTo>
                    <a:pt x="62" y="3"/>
                    <a:pt x="64" y="7"/>
                    <a:pt x="64" y="11"/>
                  </a:cubicBezTo>
                  <a:cubicBezTo>
                    <a:pt x="64" y="103"/>
                    <a:pt x="64" y="103"/>
                    <a:pt x="64" y="103"/>
                  </a:cubicBezTo>
                  <a:cubicBezTo>
                    <a:pt x="105" y="154"/>
                    <a:pt x="105" y="154"/>
                    <a:pt x="105" y="154"/>
                  </a:cubicBezTo>
                  <a:cubicBezTo>
                    <a:pt x="106" y="155"/>
                    <a:pt x="107" y="157"/>
                    <a:pt x="107" y="159"/>
                  </a:cubicBezTo>
                  <a:cubicBezTo>
                    <a:pt x="118" y="233"/>
                    <a:pt x="118" y="233"/>
                    <a:pt x="118" y="233"/>
                  </a:cubicBezTo>
                  <a:cubicBezTo>
                    <a:pt x="118" y="239"/>
                    <a:pt x="114" y="245"/>
                    <a:pt x="109" y="246"/>
                  </a:cubicBezTo>
                  <a:cubicBezTo>
                    <a:pt x="108" y="246"/>
                    <a:pt x="107" y="246"/>
                    <a:pt x="107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893">
              <a:extLst>
                <a:ext uri="{FF2B5EF4-FFF2-40B4-BE49-F238E27FC236}">
                  <a16:creationId xmlns:a16="http://schemas.microsoft.com/office/drawing/2014/main" id="{11A31613-6BA2-6654-387D-A05EE2954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3" y="3315"/>
              <a:ext cx="51" cy="65"/>
            </a:xfrm>
            <a:custGeom>
              <a:avLst/>
              <a:gdLst>
                <a:gd name="T0" fmla="*/ 12 w 77"/>
                <a:gd name="T1" fmla="*/ 98 h 98"/>
                <a:gd name="T2" fmla="*/ 5 w 77"/>
                <a:gd name="T3" fmla="*/ 96 h 98"/>
                <a:gd name="T4" fmla="*/ 3 w 77"/>
                <a:gd name="T5" fmla="*/ 81 h 98"/>
                <a:gd name="T6" fmla="*/ 56 w 77"/>
                <a:gd name="T7" fmla="*/ 6 h 98"/>
                <a:gd name="T8" fmla="*/ 71 w 77"/>
                <a:gd name="T9" fmla="*/ 4 h 98"/>
                <a:gd name="T10" fmla="*/ 74 w 77"/>
                <a:gd name="T11" fmla="*/ 19 h 98"/>
                <a:gd name="T12" fmla="*/ 20 w 77"/>
                <a:gd name="T13" fmla="*/ 93 h 98"/>
                <a:gd name="T14" fmla="*/ 12 w 77"/>
                <a:gd name="T1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98">
                  <a:moveTo>
                    <a:pt x="12" y="98"/>
                  </a:moveTo>
                  <a:cubicBezTo>
                    <a:pt x="10" y="98"/>
                    <a:pt x="7" y="97"/>
                    <a:pt x="5" y="96"/>
                  </a:cubicBezTo>
                  <a:cubicBezTo>
                    <a:pt x="1" y="92"/>
                    <a:pt x="0" y="86"/>
                    <a:pt x="3" y="81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60" y="1"/>
                    <a:pt x="66" y="0"/>
                    <a:pt x="71" y="4"/>
                  </a:cubicBezTo>
                  <a:cubicBezTo>
                    <a:pt x="76" y="7"/>
                    <a:pt x="77" y="14"/>
                    <a:pt x="74" y="19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18" y="96"/>
                    <a:pt x="15" y="98"/>
                    <a:pt x="1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894">
              <a:extLst>
                <a:ext uri="{FF2B5EF4-FFF2-40B4-BE49-F238E27FC236}">
                  <a16:creationId xmlns:a16="http://schemas.microsoft.com/office/drawing/2014/main" id="{18A47061-FEE7-B3B1-4EC1-F2F98923B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3266"/>
              <a:ext cx="23" cy="22"/>
            </a:xfrm>
            <a:custGeom>
              <a:avLst/>
              <a:gdLst>
                <a:gd name="T0" fmla="*/ 22 w 34"/>
                <a:gd name="T1" fmla="*/ 33 h 33"/>
                <a:gd name="T2" fmla="*/ 14 w 34"/>
                <a:gd name="T3" fmla="*/ 30 h 33"/>
                <a:gd name="T4" fmla="*/ 4 w 34"/>
                <a:gd name="T5" fmla="*/ 19 h 33"/>
                <a:gd name="T6" fmla="*/ 4 w 34"/>
                <a:gd name="T7" fmla="*/ 4 h 33"/>
                <a:gd name="T8" fmla="*/ 19 w 34"/>
                <a:gd name="T9" fmla="*/ 4 h 33"/>
                <a:gd name="T10" fmla="*/ 30 w 34"/>
                <a:gd name="T11" fmla="*/ 15 h 33"/>
                <a:gd name="T12" fmla="*/ 30 w 34"/>
                <a:gd name="T13" fmla="*/ 30 h 33"/>
                <a:gd name="T14" fmla="*/ 22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2" y="33"/>
                  </a:moveTo>
                  <a:cubicBezTo>
                    <a:pt x="19" y="33"/>
                    <a:pt x="17" y="32"/>
                    <a:pt x="14" y="3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8" y="0"/>
                    <a:pt x="15" y="0"/>
                    <a:pt x="19" y="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4" y="19"/>
                    <a:pt x="34" y="26"/>
                    <a:pt x="30" y="30"/>
                  </a:cubicBezTo>
                  <a:cubicBezTo>
                    <a:pt x="27" y="32"/>
                    <a:pt x="25" y="33"/>
                    <a:pt x="22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8" name="Freeform 503">
            <a:extLst>
              <a:ext uri="{FF2B5EF4-FFF2-40B4-BE49-F238E27FC236}">
                <a16:creationId xmlns:a16="http://schemas.microsoft.com/office/drawing/2014/main" id="{48D52605-621B-3831-CA0D-26008F3F7734}"/>
              </a:ext>
            </a:extLst>
          </p:cNvPr>
          <p:cNvSpPr>
            <a:spLocks noEditPoints="1"/>
          </p:cNvSpPr>
          <p:nvPr/>
        </p:nvSpPr>
        <p:spPr bwMode="auto">
          <a:xfrm>
            <a:off x="3135955" y="5247699"/>
            <a:ext cx="312088" cy="228688"/>
          </a:xfrm>
          <a:custGeom>
            <a:avLst/>
            <a:gdLst>
              <a:gd name="T0" fmla="*/ 234 w 320"/>
              <a:gd name="T1" fmla="*/ 89 h 213"/>
              <a:gd name="T2" fmla="*/ 220 w 320"/>
              <a:gd name="T3" fmla="*/ 32 h 213"/>
              <a:gd name="T4" fmla="*/ 245 w 320"/>
              <a:gd name="T5" fmla="*/ 21 h 213"/>
              <a:gd name="T6" fmla="*/ 192 w 320"/>
              <a:gd name="T7" fmla="*/ 11 h 213"/>
              <a:gd name="T8" fmla="*/ 192 w 320"/>
              <a:gd name="T9" fmla="*/ 32 h 213"/>
              <a:gd name="T10" fmla="*/ 193 w 320"/>
              <a:gd name="T11" fmla="*/ 43 h 213"/>
              <a:gd name="T12" fmla="*/ 114 w 320"/>
              <a:gd name="T13" fmla="*/ 21 h 213"/>
              <a:gd name="T14" fmla="*/ 138 w 320"/>
              <a:gd name="T15" fmla="*/ 11 h 213"/>
              <a:gd name="T16" fmla="*/ 106 w 320"/>
              <a:gd name="T17" fmla="*/ 0 h 213"/>
              <a:gd name="T18" fmla="*/ 72 w 320"/>
              <a:gd name="T19" fmla="*/ 86 h 213"/>
              <a:gd name="T20" fmla="*/ 0 w 320"/>
              <a:gd name="T21" fmla="*/ 149 h 213"/>
              <a:gd name="T22" fmla="*/ 128 w 320"/>
              <a:gd name="T23" fmla="*/ 149 h 213"/>
              <a:gd name="T24" fmla="*/ 98 w 320"/>
              <a:gd name="T25" fmla="*/ 75 h 213"/>
              <a:gd name="T26" fmla="*/ 160 w 320"/>
              <a:gd name="T27" fmla="*/ 160 h 213"/>
              <a:gd name="T28" fmla="*/ 193 w 320"/>
              <a:gd name="T29" fmla="*/ 160 h 213"/>
              <a:gd name="T30" fmla="*/ 320 w 320"/>
              <a:gd name="T31" fmla="*/ 149 h 213"/>
              <a:gd name="T32" fmla="*/ 106 w 320"/>
              <a:gd name="T33" fmla="*/ 149 h 213"/>
              <a:gd name="T34" fmla="*/ 21 w 320"/>
              <a:gd name="T35" fmla="*/ 149 h 213"/>
              <a:gd name="T36" fmla="*/ 66 w 320"/>
              <a:gd name="T37" fmla="*/ 107 h 213"/>
              <a:gd name="T38" fmla="*/ 61 w 320"/>
              <a:gd name="T39" fmla="*/ 160 h 213"/>
              <a:gd name="T40" fmla="*/ 74 w 320"/>
              <a:gd name="T41" fmla="*/ 152 h 213"/>
              <a:gd name="T42" fmla="*/ 106 w 320"/>
              <a:gd name="T43" fmla="*/ 149 h 213"/>
              <a:gd name="T44" fmla="*/ 193 w 320"/>
              <a:gd name="T45" fmla="*/ 139 h 213"/>
              <a:gd name="T46" fmla="*/ 202 w 320"/>
              <a:gd name="T47" fmla="*/ 75 h 213"/>
              <a:gd name="T48" fmla="*/ 238 w 320"/>
              <a:gd name="T49" fmla="*/ 139 h 213"/>
              <a:gd name="T50" fmla="*/ 226 w 320"/>
              <a:gd name="T51" fmla="*/ 118 h 213"/>
              <a:gd name="T52" fmla="*/ 157 w 320"/>
              <a:gd name="T53" fmla="*/ 127 h 213"/>
              <a:gd name="T54" fmla="*/ 184 w 320"/>
              <a:gd name="T55" fmla="*/ 64 h 213"/>
              <a:gd name="T56" fmla="*/ 256 w 320"/>
              <a:gd name="T57" fmla="*/ 192 h 213"/>
              <a:gd name="T58" fmla="*/ 256 w 320"/>
              <a:gd name="T59" fmla="*/ 160 h 213"/>
              <a:gd name="T60" fmla="*/ 265 w 320"/>
              <a:gd name="T61" fmla="*/ 144 h 213"/>
              <a:gd name="T62" fmla="*/ 256 w 320"/>
              <a:gd name="T63" fmla="*/ 107 h 213"/>
              <a:gd name="T64" fmla="*/ 256 w 320"/>
              <a:gd name="T65" fmla="*/ 192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20" h="213">
                <a:moveTo>
                  <a:pt x="256" y="85"/>
                </a:moveTo>
                <a:cubicBezTo>
                  <a:pt x="248" y="85"/>
                  <a:pt x="241" y="87"/>
                  <a:pt x="234" y="89"/>
                </a:cubicBezTo>
                <a:cubicBezTo>
                  <a:pt x="213" y="50"/>
                  <a:pt x="213" y="50"/>
                  <a:pt x="213" y="50"/>
                </a:cubicBezTo>
                <a:cubicBezTo>
                  <a:pt x="220" y="32"/>
                  <a:pt x="220" y="32"/>
                  <a:pt x="220" y="32"/>
                </a:cubicBezTo>
                <a:cubicBezTo>
                  <a:pt x="234" y="32"/>
                  <a:pt x="234" y="32"/>
                  <a:pt x="234" y="32"/>
                </a:cubicBezTo>
                <a:cubicBezTo>
                  <a:pt x="240" y="32"/>
                  <a:pt x="245" y="27"/>
                  <a:pt x="245" y="21"/>
                </a:cubicBezTo>
                <a:cubicBezTo>
                  <a:pt x="245" y="15"/>
                  <a:pt x="240" y="11"/>
                  <a:pt x="234" y="11"/>
                </a:cubicBezTo>
                <a:cubicBezTo>
                  <a:pt x="192" y="11"/>
                  <a:pt x="192" y="11"/>
                  <a:pt x="192" y="11"/>
                </a:cubicBezTo>
                <a:cubicBezTo>
                  <a:pt x="186" y="11"/>
                  <a:pt x="181" y="15"/>
                  <a:pt x="181" y="21"/>
                </a:cubicBezTo>
                <a:cubicBezTo>
                  <a:pt x="181" y="27"/>
                  <a:pt x="186" y="32"/>
                  <a:pt x="192" y="32"/>
                </a:cubicBezTo>
                <a:cubicBezTo>
                  <a:pt x="197" y="32"/>
                  <a:pt x="197" y="32"/>
                  <a:pt x="197" y="32"/>
                </a:cubicBezTo>
                <a:cubicBezTo>
                  <a:pt x="193" y="43"/>
                  <a:pt x="193" y="43"/>
                  <a:pt x="193" y="43"/>
                </a:cubicBezTo>
                <a:cubicBezTo>
                  <a:pt x="108" y="43"/>
                  <a:pt x="108" y="43"/>
                  <a:pt x="108" y="43"/>
                </a:cubicBezTo>
                <a:cubicBezTo>
                  <a:pt x="114" y="21"/>
                  <a:pt x="114" y="21"/>
                  <a:pt x="114" y="21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134" y="21"/>
                  <a:pt x="138" y="17"/>
                  <a:pt x="138" y="11"/>
                </a:cubicBezTo>
                <a:cubicBezTo>
                  <a:pt x="138" y="5"/>
                  <a:pt x="134" y="0"/>
                  <a:pt x="128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2" y="0"/>
                  <a:pt x="98" y="3"/>
                  <a:pt x="96" y="8"/>
                </a:cubicBezTo>
                <a:cubicBezTo>
                  <a:pt x="72" y="86"/>
                  <a:pt x="72" y="86"/>
                  <a:pt x="72" y="86"/>
                </a:cubicBezTo>
                <a:cubicBezTo>
                  <a:pt x="69" y="86"/>
                  <a:pt x="67" y="85"/>
                  <a:pt x="64" y="85"/>
                </a:cubicBezTo>
                <a:cubicBezTo>
                  <a:pt x="28" y="85"/>
                  <a:pt x="0" y="114"/>
                  <a:pt x="0" y="149"/>
                </a:cubicBezTo>
                <a:cubicBezTo>
                  <a:pt x="0" y="185"/>
                  <a:pt x="28" y="213"/>
                  <a:pt x="64" y="213"/>
                </a:cubicBezTo>
                <a:cubicBezTo>
                  <a:pt x="99" y="213"/>
                  <a:pt x="128" y="185"/>
                  <a:pt x="128" y="149"/>
                </a:cubicBezTo>
                <a:cubicBezTo>
                  <a:pt x="128" y="124"/>
                  <a:pt x="113" y="103"/>
                  <a:pt x="92" y="92"/>
                </a:cubicBezTo>
                <a:cubicBezTo>
                  <a:pt x="98" y="75"/>
                  <a:pt x="98" y="75"/>
                  <a:pt x="98" y="75"/>
                </a:cubicBezTo>
                <a:cubicBezTo>
                  <a:pt x="151" y="155"/>
                  <a:pt x="151" y="155"/>
                  <a:pt x="151" y="155"/>
                </a:cubicBezTo>
                <a:cubicBezTo>
                  <a:pt x="153" y="158"/>
                  <a:pt x="156" y="160"/>
                  <a:pt x="160" y="160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93" y="160"/>
                  <a:pt x="193" y="160"/>
                  <a:pt x="193" y="160"/>
                </a:cubicBezTo>
                <a:cubicBezTo>
                  <a:pt x="198" y="190"/>
                  <a:pt x="224" y="213"/>
                  <a:pt x="256" y="213"/>
                </a:cubicBezTo>
                <a:cubicBezTo>
                  <a:pt x="291" y="213"/>
                  <a:pt x="320" y="185"/>
                  <a:pt x="320" y="149"/>
                </a:cubicBezTo>
                <a:cubicBezTo>
                  <a:pt x="320" y="114"/>
                  <a:pt x="291" y="85"/>
                  <a:pt x="256" y="85"/>
                </a:cubicBezTo>
                <a:close/>
                <a:moveTo>
                  <a:pt x="106" y="149"/>
                </a:moveTo>
                <a:cubicBezTo>
                  <a:pt x="106" y="173"/>
                  <a:pt x="87" y="192"/>
                  <a:pt x="64" y="192"/>
                </a:cubicBezTo>
                <a:cubicBezTo>
                  <a:pt x="40" y="192"/>
                  <a:pt x="21" y="173"/>
                  <a:pt x="21" y="149"/>
                </a:cubicBezTo>
                <a:cubicBezTo>
                  <a:pt x="21" y="126"/>
                  <a:pt x="40" y="107"/>
                  <a:pt x="64" y="107"/>
                </a:cubicBezTo>
                <a:cubicBezTo>
                  <a:pt x="64" y="107"/>
                  <a:pt x="65" y="107"/>
                  <a:pt x="66" y="107"/>
                </a:cubicBezTo>
                <a:cubicBezTo>
                  <a:pt x="53" y="146"/>
                  <a:pt x="53" y="146"/>
                  <a:pt x="53" y="146"/>
                </a:cubicBezTo>
                <a:cubicBezTo>
                  <a:pt x="52" y="152"/>
                  <a:pt x="55" y="158"/>
                  <a:pt x="61" y="160"/>
                </a:cubicBezTo>
                <a:cubicBezTo>
                  <a:pt x="62" y="160"/>
                  <a:pt x="63" y="160"/>
                  <a:pt x="64" y="160"/>
                </a:cubicBezTo>
                <a:cubicBezTo>
                  <a:pt x="68" y="160"/>
                  <a:pt x="72" y="157"/>
                  <a:pt x="74" y="152"/>
                </a:cubicBezTo>
                <a:cubicBezTo>
                  <a:pt x="86" y="113"/>
                  <a:pt x="86" y="113"/>
                  <a:pt x="86" y="113"/>
                </a:cubicBezTo>
                <a:cubicBezTo>
                  <a:pt x="98" y="121"/>
                  <a:pt x="106" y="134"/>
                  <a:pt x="106" y="149"/>
                </a:cubicBezTo>
                <a:close/>
                <a:moveTo>
                  <a:pt x="216" y="99"/>
                </a:moveTo>
                <a:cubicBezTo>
                  <a:pt x="204" y="109"/>
                  <a:pt x="195" y="123"/>
                  <a:pt x="193" y="139"/>
                </a:cubicBezTo>
                <a:cubicBezTo>
                  <a:pt x="176" y="139"/>
                  <a:pt x="176" y="139"/>
                  <a:pt x="176" y="139"/>
                </a:cubicBezTo>
                <a:cubicBezTo>
                  <a:pt x="202" y="75"/>
                  <a:pt x="202" y="75"/>
                  <a:pt x="202" y="75"/>
                </a:cubicBezTo>
                <a:lnTo>
                  <a:pt x="216" y="99"/>
                </a:lnTo>
                <a:close/>
                <a:moveTo>
                  <a:pt x="238" y="139"/>
                </a:moveTo>
                <a:cubicBezTo>
                  <a:pt x="215" y="139"/>
                  <a:pt x="215" y="139"/>
                  <a:pt x="215" y="139"/>
                </a:cubicBezTo>
                <a:cubicBezTo>
                  <a:pt x="217" y="131"/>
                  <a:pt x="221" y="124"/>
                  <a:pt x="226" y="118"/>
                </a:cubicBezTo>
                <a:lnTo>
                  <a:pt x="238" y="139"/>
                </a:lnTo>
                <a:close/>
                <a:moveTo>
                  <a:pt x="157" y="127"/>
                </a:moveTo>
                <a:cubicBezTo>
                  <a:pt x="116" y="64"/>
                  <a:pt x="116" y="64"/>
                  <a:pt x="116" y="64"/>
                </a:cubicBezTo>
                <a:cubicBezTo>
                  <a:pt x="184" y="64"/>
                  <a:pt x="184" y="64"/>
                  <a:pt x="184" y="64"/>
                </a:cubicBezTo>
                <a:lnTo>
                  <a:pt x="157" y="127"/>
                </a:lnTo>
                <a:close/>
                <a:moveTo>
                  <a:pt x="256" y="192"/>
                </a:moveTo>
                <a:cubicBezTo>
                  <a:pt x="236" y="192"/>
                  <a:pt x="219" y="178"/>
                  <a:pt x="215" y="160"/>
                </a:cubicBezTo>
                <a:cubicBezTo>
                  <a:pt x="256" y="160"/>
                  <a:pt x="256" y="160"/>
                  <a:pt x="256" y="160"/>
                </a:cubicBezTo>
                <a:cubicBezTo>
                  <a:pt x="259" y="160"/>
                  <a:pt x="263" y="158"/>
                  <a:pt x="265" y="155"/>
                </a:cubicBezTo>
                <a:cubicBezTo>
                  <a:pt x="267" y="151"/>
                  <a:pt x="267" y="147"/>
                  <a:pt x="265" y="144"/>
                </a:cubicBezTo>
                <a:cubicBezTo>
                  <a:pt x="245" y="108"/>
                  <a:pt x="245" y="108"/>
                  <a:pt x="245" y="108"/>
                </a:cubicBezTo>
                <a:cubicBezTo>
                  <a:pt x="248" y="107"/>
                  <a:pt x="252" y="107"/>
                  <a:pt x="256" y="107"/>
                </a:cubicBezTo>
                <a:cubicBezTo>
                  <a:pt x="279" y="107"/>
                  <a:pt x="298" y="126"/>
                  <a:pt x="298" y="149"/>
                </a:cubicBezTo>
                <a:cubicBezTo>
                  <a:pt x="298" y="173"/>
                  <a:pt x="279" y="192"/>
                  <a:pt x="256" y="192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1" u="none" strike="noStrike" kern="0" cap="none" spc="0" normalizeH="0" baseline="0" noProof="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9" name="Freeform 253">
            <a:extLst>
              <a:ext uri="{FF2B5EF4-FFF2-40B4-BE49-F238E27FC236}">
                <a16:creationId xmlns:a16="http://schemas.microsoft.com/office/drawing/2014/main" id="{CC6002BB-DA7B-C66C-BD62-FB968CECD0A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40991" y="3296238"/>
            <a:ext cx="366590" cy="285862"/>
          </a:xfrm>
          <a:custGeom>
            <a:avLst/>
            <a:gdLst>
              <a:gd name="T0" fmla="*/ 309 w 320"/>
              <a:gd name="T1" fmla="*/ 0 h 256"/>
              <a:gd name="T2" fmla="*/ 10 w 320"/>
              <a:gd name="T3" fmla="*/ 0 h 256"/>
              <a:gd name="T4" fmla="*/ 0 w 320"/>
              <a:gd name="T5" fmla="*/ 11 h 256"/>
              <a:gd name="T6" fmla="*/ 0 w 320"/>
              <a:gd name="T7" fmla="*/ 203 h 256"/>
              <a:gd name="T8" fmla="*/ 10 w 320"/>
              <a:gd name="T9" fmla="*/ 214 h 256"/>
              <a:gd name="T10" fmla="*/ 149 w 320"/>
              <a:gd name="T11" fmla="*/ 214 h 256"/>
              <a:gd name="T12" fmla="*/ 149 w 320"/>
              <a:gd name="T13" fmla="*/ 235 h 256"/>
              <a:gd name="T14" fmla="*/ 106 w 320"/>
              <a:gd name="T15" fmla="*/ 235 h 256"/>
              <a:gd name="T16" fmla="*/ 96 w 320"/>
              <a:gd name="T17" fmla="*/ 246 h 256"/>
              <a:gd name="T18" fmla="*/ 106 w 320"/>
              <a:gd name="T19" fmla="*/ 256 h 256"/>
              <a:gd name="T20" fmla="*/ 213 w 320"/>
              <a:gd name="T21" fmla="*/ 256 h 256"/>
              <a:gd name="T22" fmla="*/ 224 w 320"/>
              <a:gd name="T23" fmla="*/ 246 h 256"/>
              <a:gd name="T24" fmla="*/ 213 w 320"/>
              <a:gd name="T25" fmla="*/ 235 h 256"/>
              <a:gd name="T26" fmla="*/ 170 w 320"/>
              <a:gd name="T27" fmla="*/ 235 h 256"/>
              <a:gd name="T28" fmla="*/ 170 w 320"/>
              <a:gd name="T29" fmla="*/ 214 h 256"/>
              <a:gd name="T30" fmla="*/ 309 w 320"/>
              <a:gd name="T31" fmla="*/ 214 h 256"/>
              <a:gd name="T32" fmla="*/ 320 w 320"/>
              <a:gd name="T33" fmla="*/ 203 h 256"/>
              <a:gd name="T34" fmla="*/ 320 w 320"/>
              <a:gd name="T35" fmla="*/ 11 h 256"/>
              <a:gd name="T36" fmla="*/ 309 w 320"/>
              <a:gd name="T37" fmla="*/ 0 h 256"/>
              <a:gd name="T38" fmla="*/ 298 w 320"/>
              <a:gd name="T39" fmla="*/ 192 h 256"/>
              <a:gd name="T40" fmla="*/ 21 w 320"/>
              <a:gd name="T41" fmla="*/ 192 h 256"/>
              <a:gd name="T42" fmla="*/ 21 w 320"/>
              <a:gd name="T43" fmla="*/ 22 h 256"/>
              <a:gd name="T44" fmla="*/ 298 w 320"/>
              <a:gd name="T45" fmla="*/ 22 h 256"/>
              <a:gd name="T46" fmla="*/ 298 w 320"/>
              <a:gd name="T47" fmla="*/ 192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20" h="256">
                <a:moveTo>
                  <a:pt x="309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09"/>
                  <a:pt x="4" y="214"/>
                  <a:pt x="10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49" y="235"/>
                  <a:pt x="149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40"/>
                  <a:pt x="96" y="246"/>
                </a:cubicBezTo>
                <a:cubicBezTo>
                  <a:pt x="96" y="252"/>
                  <a:pt x="100" y="256"/>
                  <a:pt x="106" y="256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9" y="256"/>
                  <a:pt x="224" y="252"/>
                  <a:pt x="224" y="246"/>
                </a:cubicBezTo>
                <a:cubicBezTo>
                  <a:pt x="224" y="240"/>
                  <a:pt x="219" y="235"/>
                  <a:pt x="213" y="235"/>
                </a:cubicBezTo>
                <a:cubicBezTo>
                  <a:pt x="170" y="235"/>
                  <a:pt x="170" y="235"/>
                  <a:pt x="170" y="235"/>
                </a:cubicBezTo>
                <a:cubicBezTo>
                  <a:pt x="170" y="214"/>
                  <a:pt x="170" y="214"/>
                  <a:pt x="170" y="214"/>
                </a:cubicBezTo>
                <a:cubicBezTo>
                  <a:pt x="309" y="214"/>
                  <a:pt x="309" y="214"/>
                  <a:pt x="309" y="214"/>
                </a:cubicBezTo>
                <a:cubicBezTo>
                  <a:pt x="315" y="214"/>
                  <a:pt x="320" y="209"/>
                  <a:pt x="320" y="203"/>
                </a:cubicBezTo>
                <a:cubicBezTo>
                  <a:pt x="320" y="11"/>
                  <a:pt x="320" y="11"/>
                  <a:pt x="320" y="11"/>
                </a:cubicBezTo>
                <a:cubicBezTo>
                  <a:pt x="320" y="5"/>
                  <a:pt x="315" y="0"/>
                  <a:pt x="309" y="0"/>
                </a:cubicBezTo>
                <a:close/>
                <a:moveTo>
                  <a:pt x="298" y="192"/>
                </a:moveTo>
                <a:cubicBezTo>
                  <a:pt x="21" y="192"/>
                  <a:pt x="21" y="192"/>
                  <a:pt x="21" y="192"/>
                </a:cubicBezTo>
                <a:cubicBezTo>
                  <a:pt x="21" y="22"/>
                  <a:pt x="21" y="22"/>
                  <a:pt x="21" y="22"/>
                </a:cubicBezTo>
                <a:cubicBezTo>
                  <a:pt x="298" y="22"/>
                  <a:pt x="298" y="22"/>
                  <a:pt x="298" y="22"/>
                </a:cubicBezTo>
                <a:lnTo>
                  <a:pt x="298" y="192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967FA6B9-761A-CF19-C51F-A4DCF07BEC5A}"/>
              </a:ext>
            </a:extLst>
          </p:cNvPr>
          <p:cNvCxnSpPr/>
          <p:nvPr/>
        </p:nvCxnSpPr>
        <p:spPr>
          <a:xfrm flipV="1">
            <a:off x="4341708" y="3395996"/>
            <a:ext cx="234066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71" name="TextBox 170">
            <a:extLst>
              <a:ext uri="{FF2B5EF4-FFF2-40B4-BE49-F238E27FC236}">
                <a16:creationId xmlns:a16="http://schemas.microsoft.com/office/drawing/2014/main" id="{A2D8195D-6F40-FD44-E776-A4DC77C2F0A5}"/>
              </a:ext>
            </a:extLst>
          </p:cNvPr>
          <p:cNvSpPr txBox="1"/>
          <p:nvPr/>
        </p:nvSpPr>
        <p:spPr>
          <a:xfrm>
            <a:off x="643660" y="3253554"/>
            <a:ext cx="2160000" cy="83099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-ITS </a:t>
            </a:r>
            <a:r>
              <a:rPr lang="cs-CZ" sz="1600" i="1" dirty="0" err="1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Back</a:t>
            </a:r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Office napojené na dopravní a řídící centra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C3F616C2-E505-9CE3-7BC9-4F9DEECB36C1}"/>
              </a:ext>
            </a:extLst>
          </p:cNvPr>
          <p:cNvSpPr txBox="1"/>
          <p:nvPr/>
        </p:nvSpPr>
        <p:spPr>
          <a:xfrm>
            <a:off x="653537" y="4038169"/>
            <a:ext cx="2160000" cy="584775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-ITS stanice na infrastruktuře („RSU“)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1566A223-D88D-934B-F462-7B4FE4E88E45}"/>
              </a:ext>
            </a:extLst>
          </p:cNvPr>
          <p:cNvSpPr txBox="1"/>
          <p:nvPr/>
        </p:nvSpPr>
        <p:spPr>
          <a:xfrm>
            <a:off x="653537" y="4883939"/>
            <a:ext cx="2160000" cy="584775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-ITS stanice ve vozidlech („OBU“)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55C1DD4B-863D-F2DA-3332-5B3DC9CE217F}"/>
              </a:ext>
            </a:extLst>
          </p:cNvPr>
          <p:cNvSpPr txBox="1"/>
          <p:nvPr/>
        </p:nvSpPr>
        <p:spPr>
          <a:xfrm>
            <a:off x="653537" y="5470495"/>
            <a:ext cx="216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457200"/>
            <a:r>
              <a:rPr lang="cs-CZ" sz="16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obilní aplikace</a:t>
            </a:r>
          </a:p>
        </p:txBody>
      </p:sp>
      <p:sp>
        <p:nvSpPr>
          <p:cNvPr id="175" name="Rounded Rectangle 93">
            <a:extLst>
              <a:ext uri="{FF2B5EF4-FFF2-40B4-BE49-F238E27FC236}">
                <a16:creationId xmlns:a16="http://schemas.microsoft.com/office/drawing/2014/main" id="{22724663-C5A4-412C-7C82-4B647F62510D}"/>
              </a:ext>
            </a:extLst>
          </p:cNvPr>
          <p:cNvSpPr/>
          <p:nvPr/>
        </p:nvSpPr>
        <p:spPr bwMode="gray">
          <a:xfrm>
            <a:off x="610788" y="3146327"/>
            <a:ext cx="6244083" cy="2952000"/>
          </a:xfrm>
          <a:prstGeom prst="roundRect">
            <a:avLst>
              <a:gd name="adj" fmla="val 1003"/>
            </a:avLst>
          </a:prstGeom>
          <a:noFill/>
          <a:ln w="38100" cap="flat" cmpd="sng" algn="ctr">
            <a:solidFill>
              <a:srgbClr val="C00000"/>
            </a:solidFill>
            <a:prstDash val="lgDash"/>
            <a:miter lim="800000"/>
            <a:headEnd/>
            <a:tailEnd/>
          </a:ln>
          <a:effectLst/>
        </p:spPr>
        <p:txBody>
          <a:bodyPr wrap="square" lIns="66675" tIns="66675" rIns="66675" bIns="66675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487" marR="0" lvl="1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C17E343A-DC16-B996-8077-96694A5898DA}"/>
              </a:ext>
            </a:extLst>
          </p:cNvPr>
          <p:cNvSpPr txBox="1"/>
          <p:nvPr/>
        </p:nvSpPr>
        <p:spPr>
          <a:xfrm>
            <a:off x="7356323" y="3212553"/>
            <a:ext cx="4392000" cy="1706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 defTabSz="914377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200" b="0">
                <a:cs typeface="Calibri Light" panose="020F0302020204030204" pitchFamily="34" charset="0"/>
              </a:defRPr>
            </a:lvl1pPr>
            <a:lvl2pPr marL="139697" indent="-139697" defTabSz="914377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300" b="0">
                <a:latin typeface="+mj-lt"/>
                <a:cs typeface="Calibri Light" panose="020F0302020204030204" pitchFamily="34" charset="0"/>
              </a:defRPr>
            </a:lvl2pPr>
            <a:lvl3pPr marL="304792" indent="-139697" defTabSz="914377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 sz="1300">
                <a:cs typeface="Calibri Light" panose="020F0302020204030204" pitchFamily="34" charset="0"/>
              </a:defRPr>
            </a:lvl3pPr>
            <a:lvl4pPr marL="469888" indent="-139697" defTabSz="914377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 sz="1300" baseline="0">
                <a:cs typeface="Calibri Light" panose="020F0302020204030204" pitchFamily="34" charset="0"/>
              </a:defRPr>
            </a:lvl4pPr>
            <a:lvl5pPr marL="634984" indent="-139697" defTabSz="798493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/>
              <a:defRPr sz="1300" baseline="0">
                <a:cs typeface="Calibri Light" panose="020F0302020204030204" pitchFamily="34" charset="0"/>
              </a:defRPr>
            </a:lvl5pPr>
            <a:lvl6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6pPr>
            <a:lvl7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/>
            </a:lvl7pPr>
            <a:lvl8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8pPr>
            <a:lvl9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9pPr>
          </a:lstStyle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C-ITS systém, který je definován technickými specifikacemi a je připraven k implementaci obcemi a městy. </a:t>
            </a:r>
          </a:p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cs-CZ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Implementace C-ITS je podporovaná z evropských dotačních titulů (CEF) i národních dotačních titulů (OPD, IROP).</a:t>
            </a:r>
          </a:p>
        </p:txBody>
      </p:sp>
      <p:sp>
        <p:nvSpPr>
          <p:cNvPr id="177" name="Rectangle: Rounded Corners 176">
            <a:extLst>
              <a:ext uri="{FF2B5EF4-FFF2-40B4-BE49-F238E27FC236}">
                <a16:creationId xmlns:a16="http://schemas.microsoft.com/office/drawing/2014/main" id="{E6A0E1A5-AC4D-41B5-933E-C28E5224ED75}"/>
              </a:ext>
            </a:extLst>
          </p:cNvPr>
          <p:cNvSpPr/>
          <p:nvPr/>
        </p:nvSpPr>
        <p:spPr>
          <a:xfrm>
            <a:off x="602374" y="1152826"/>
            <a:ext cx="1620000" cy="288000"/>
          </a:xfrm>
          <a:prstGeom prst="roundRect">
            <a:avLst/>
          </a:prstGeom>
          <a:solidFill>
            <a:srgbClr val="063E85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entrální prvky</a:t>
            </a:r>
          </a:p>
        </p:txBody>
      </p:sp>
      <p:sp>
        <p:nvSpPr>
          <p:cNvPr id="178" name="Rectangle: Rounded Corners 177">
            <a:extLst>
              <a:ext uri="{FF2B5EF4-FFF2-40B4-BE49-F238E27FC236}">
                <a16:creationId xmlns:a16="http://schemas.microsoft.com/office/drawing/2014/main" id="{6F7503A9-224D-0D96-87BA-CC17B18E36DB}"/>
              </a:ext>
            </a:extLst>
          </p:cNvPr>
          <p:cNvSpPr/>
          <p:nvPr/>
        </p:nvSpPr>
        <p:spPr>
          <a:xfrm>
            <a:off x="601049" y="3003855"/>
            <a:ext cx="1620000" cy="288000"/>
          </a:xfrm>
          <a:prstGeom prst="roundRect">
            <a:avLst/>
          </a:prstGeom>
          <a:solidFill>
            <a:srgbClr val="063E85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-ITS systémy</a:t>
            </a:r>
          </a:p>
        </p:txBody>
      </p:sp>
    </p:spTree>
    <p:extLst>
      <p:ext uri="{BB962C8B-B14F-4D97-AF65-F5344CB8AC3E}">
        <p14:creationId xmlns:p14="http://schemas.microsoft.com/office/powerpoint/2010/main" val="3075231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C6DCCA71-E88E-7405-A260-824D7294020C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Stav rozvoje C-ITS v Č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E37768-8ACE-95C2-7526-08E71BD102F3}"/>
              </a:ext>
            </a:extLst>
          </p:cNvPr>
          <p:cNvSpPr/>
          <p:nvPr/>
        </p:nvSpPr>
        <p:spPr>
          <a:xfrm>
            <a:off x="467165" y="1222024"/>
            <a:ext cx="11160000" cy="72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01AFF2D5-279A-81B9-A3BB-F386BCCB974C}"/>
              </a:ext>
            </a:extLst>
          </p:cNvPr>
          <p:cNvSpPr/>
          <p:nvPr/>
        </p:nvSpPr>
        <p:spPr bwMode="gray">
          <a:xfrm>
            <a:off x="377489" y="1543643"/>
            <a:ext cx="2508642" cy="720000"/>
          </a:xfrm>
          <a:prstGeom prst="homePlate">
            <a:avLst>
              <a:gd name="adj" fmla="val 24239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chemeClr val="bg1"/>
                </a:solidFill>
              </a:rPr>
              <a:t>C-ROADS CZ: Příprava technických specifikací, definice C-ITS služeb 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61989AF3-CE24-49C0-9376-50824EA99338}"/>
              </a:ext>
            </a:extLst>
          </p:cNvPr>
          <p:cNvSpPr/>
          <p:nvPr/>
        </p:nvSpPr>
        <p:spPr bwMode="gray">
          <a:xfrm>
            <a:off x="2915174" y="1538268"/>
            <a:ext cx="2592000" cy="720000"/>
          </a:xfrm>
          <a:prstGeom prst="homePlate">
            <a:avLst>
              <a:gd name="adj" fmla="val 24239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C-ROADS CZ: </a:t>
            </a:r>
            <a:r>
              <a:rPr lang="en-US" sz="1400" b="1" dirty="0" err="1">
                <a:solidFill>
                  <a:schemeClr val="bg1"/>
                </a:solidFill>
              </a:rPr>
              <a:t>Implementace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cs-CZ" sz="1400" b="1" dirty="0">
                <a:solidFill>
                  <a:schemeClr val="bg1"/>
                </a:solidFill>
              </a:rPr>
              <a:t>5 </a:t>
            </a:r>
            <a:r>
              <a:rPr lang="en-US" sz="1400" b="1" dirty="0" err="1">
                <a:solidFill>
                  <a:schemeClr val="bg1"/>
                </a:solidFill>
              </a:rPr>
              <a:t>pilotních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lokalit</a:t>
            </a:r>
            <a:r>
              <a:rPr lang="en-US" sz="1400" b="1" dirty="0">
                <a:solidFill>
                  <a:schemeClr val="bg1"/>
                </a:solidFill>
              </a:rPr>
              <a:t> C-IT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86B9F69-6464-8DE8-DBCD-DC0A7C474FBA}"/>
              </a:ext>
            </a:extLst>
          </p:cNvPr>
          <p:cNvSpPr/>
          <p:nvPr/>
        </p:nvSpPr>
        <p:spPr>
          <a:xfrm>
            <a:off x="377489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2281110-2FC2-8320-E364-0C2472357605}"/>
              </a:ext>
            </a:extLst>
          </p:cNvPr>
          <p:cNvSpPr/>
          <p:nvPr/>
        </p:nvSpPr>
        <p:spPr>
          <a:xfrm>
            <a:off x="2156024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9997279-A9AC-ACC2-226A-98BC5F58360B}"/>
              </a:ext>
            </a:extLst>
          </p:cNvPr>
          <p:cNvSpPr txBox="1">
            <a:spLocks/>
          </p:cNvSpPr>
          <p:nvPr/>
        </p:nvSpPr>
        <p:spPr>
          <a:xfrm>
            <a:off x="3011983" y="885340"/>
            <a:ext cx="490807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/>
                </a:solidFill>
              </a:rPr>
              <a:t>2018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30C5B39-52BD-6C6D-F569-FCC8A32296BA}"/>
              </a:ext>
            </a:extLst>
          </p:cNvPr>
          <p:cNvSpPr txBox="1">
            <a:spLocks/>
          </p:cNvSpPr>
          <p:nvPr/>
        </p:nvSpPr>
        <p:spPr>
          <a:xfrm>
            <a:off x="4850786" y="873943"/>
            <a:ext cx="490807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/>
                </a:solidFill>
              </a:rPr>
              <a:t>2019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D7099AA-9747-DE73-4BF1-6ABCC01B29FE}"/>
              </a:ext>
            </a:extLst>
          </p:cNvPr>
          <p:cNvSpPr txBox="1">
            <a:spLocks/>
          </p:cNvSpPr>
          <p:nvPr/>
        </p:nvSpPr>
        <p:spPr>
          <a:xfrm>
            <a:off x="6600423" y="852269"/>
            <a:ext cx="490807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/>
                </a:solidFill>
              </a:rPr>
              <a:t>2020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B15FB5D-D958-CC96-1A21-F8FA64D2B348}"/>
              </a:ext>
            </a:extLst>
          </p:cNvPr>
          <p:cNvSpPr/>
          <p:nvPr/>
        </p:nvSpPr>
        <p:spPr>
          <a:xfrm>
            <a:off x="3934559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7ACFD0F-094F-FEFE-50A3-03D6B75C2410}"/>
              </a:ext>
            </a:extLst>
          </p:cNvPr>
          <p:cNvSpPr/>
          <p:nvPr/>
        </p:nvSpPr>
        <p:spPr>
          <a:xfrm>
            <a:off x="7491630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06C2E3-3C19-9DE2-A1BA-E241928EAA5F}"/>
              </a:ext>
            </a:extLst>
          </p:cNvPr>
          <p:cNvSpPr/>
          <p:nvPr/>
        </p:nvSpPr>
        <p:spPr>
          <a:xfrm>
            <a:off x="9270166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4AFE922-4E64-B29C-E09D-004760D7605F}"/>
              </a:ext>
            </a:extLst>
          </p:cNvPr>
          <p:cNvSpPr/>
          <p:nvPr/>
        </p:nvSpPr>
        <p:spPr>
          <a:xfrm>
            <a:off x="11048702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C79017E-7E41-28A1-5DDB-8E99BE477FCC}"/>
              </a:ext>
            </a:extLst>
          </p:cNvPr>
          <p:cNvSpPr txBox="1">
            <a:spLocks/>
          </p:cNvSpPr>
          <p:nvPr/>
        </p:nvSpPr>
        <p:spPr>
          <a:xfrm>
            <a:off x="10032287" y="878883"/>
            <a:ext cx="490807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/>
                </a:solidFill>
              </a:rPr>
              <a:t>2022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8870C1D0-6219-6101-AD7A-62FD83F8EB67}"/>
              </a:ext>
            </a:extLst>
          </p:cNvPr>
          <p:cNvSpPr/>
          <p:nvPr/>
        </p:nvSpPr>
        <p:spPr bwMode="gray">
          <a:xfrm>
            <a:off x="7491629" y="2023929"/>
            <a:ext cx="1763071" cy="468000"/>
          </a:xfrm>
          <a:prstGeom prst="homePlate">
            <a:avLst>
              <a:gd name="adj" fmla="val 24239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chemeClr val="bg1"/>
                </a:solidFill>
              </a:rPr>
              <a:t>C-ROADS CZ: Koncepce C-IT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EF48B334-4A69-E182-AED2-AA45262525E1}"/>
              </a:ext>
            </a:extLst>
          </p:cNvPr>
          <p:cNvSpPr txBox="1">
            <a:spLocks/>
          </p:cNvSpPr>
          <p:nvPr/>
        </p:nvSpPr>
        <p:spPr>
          <a:xfrm>
            <a:off x="1301353" y="872431"/>
            <a:ext cx="490807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/>
                </a:solidFill>
              </a:rPr>
              <a:t>2017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BDD9AC6F-08B2-62C0-4210-0110F888D808}"/>
              </a:ext>
            </a:extLst>
          </p:cNvPr>
          <p:cNvSpPr/>
          <p:nvPr/>
        </p:nvSpPr>
        <p:spPr bwMode="gray">
          <a:xfrm>
            <a:off x="5526336" y="1541904"/>
            <a:ext cx="1529930" cy="468000"/>
          </a:xfrm>
          <a:prstGeom prst="homePlate">
            <a:avLst>
              <a:gd name="adj" fmla="val 24239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C-ROADS CZ: Field </a:t>
            </a:r>
            <a:r>
              <a:rPr lang="en-US" sz="1400" b="1" dirty="0" err="1">
                <a:solidFill>
                  <a:schemeClr val="bg1"/>
                </a:solidFill>
              </a:rPr>
              <a:t>testování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1" name="Arrow: Pentagon 30">
            <a:extLst>
              <a:ext uri="{FF2B5EF4-FFF2-40B4-BE49-F238E27FC236}">
                <a16:creationId xmlns:a16="http://schemas.microsoft.com/office/drawing/2014/main" id="{E1652C7A-1D43-DAB8-D899-0C02FBA91A49}"/>
              </a:ext>
            </a:extLst>
          </p:cNvPr>
          <p:cNvSpPr/>
          <p:nvPr/>
        </p:nvSpPr>
        <p:spPr bwMode="gray">
          <a:xfrm>
            <a:off x="7079031" y="1541049"/>
            <a:ext cx="2474911" cy="468000"/>
          </a:xfrm>
          <a:prstGeom prst="homePlate">
            <a:avLst>
              <a:gd name="adj" fmla="val 24239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C-ROADS CZ: </a:t>
            </a:r>
            <a:r>
              <a:rPr lang="en-US" sz="1400" b="1" dirty="0" err="1">
                <a:solidFill>
                  <a:schemeClr val="bg1"/>
                </a:solidFill>
              </a:rPr>
              <a:t>Mezinárodní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testování</a:t>
            </a:r>
            <a:r>
              <a:rPr lang="en-US" sz="1400" b="1" dirty="0">
                <a:solidFill>
                  <a:schemeClr val="bg1"/>
                </a:solidFill>
              </a:rPr>
              <a:t> a </a:t>
            </a:r>
            <a:r>
              <a:rPr lang="en-US" sz="1400" b="1" dirty="0" err="1">
                <a:solidFill>
                  <a:schemeClr val="bg1"/>
                </a:solidFill>
              </a:rPr>
              <a:t>vyhodnocení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F16EE1B-0D68-AC11-4D85-02B570DA0481}"/>
              </a:ext>
            </a:extLst>
          </p:cNvPr>
          <p:cNvCxnSpPr/>
          <p:nvPr/>
        </p:nvCxnSpPr>
        <p:spPr>
          <a:xfrm>
            <a:off x="3507763" y="6289832"/>
            <a:ext cx="147451" cy="0"/>
          </a:xfrm>
          <a:prstGeom prst="line">
            <a:avLst/>
          </a:prstGeom>
          <a:noFill/>
          <a:ln w="38100" algn="ctr">
            <a:solidFill>
              <a:srgbClr val="00A3E0">
                <a:lumMod val="60000"/>
                <a:lumOff val="40000"/>
              </a:srgbClr>
            </a:solidFill>
            <a:miter lim="800000"/>
            <a:headEnd/>
            <a:tailEnd/>
          </a:ln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ABE07B1-F808-F209-B28B-A709347A38CB}"/>
              </a:ext>
            </a:extLst>
          </p:cNvPr>
          <p:cNvCxnSpPr/>
          <p:nvPr/>
        </p:nvCxnSpPr>
        <p:spPr>
          <a:xfrm>
            <a:off x="3507763" y="6511127"/>
            <a:ext cx="147451" cy="0"/>
          </a:xfrm>
          <a:prstGeom prst="line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24096F9-5542-6157-AE08-2462E799344C}"/>
              </a:ext>
            </a:extLst>
          </p:cNvPr>
          <p:cNvSpPr txBox="1"/>
          <p:nvPr/>
        </p:nvSpPr>
        <p:spPr>
          <a:xfrm>
            <a:off x="3700248" y="6197172"/>
            <a:ext cx="1646955" cy="200095"/>
          </a:xfrm>
          <a:prstGeom prst="rect">
            <a:avLst/>
          </a:prstGeom>
          <a:noFill/>
          <a:ln w="12700">
            <a:noFill/>
          </a:ln>
        </p:spPr>
        <p:txBody>
          <a:bodyPr wrap="square" lIns="33231" tIns="33231" rIns="33231" bIns="33231" rtlCol="0" anchor="ctr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defRPr sz="1300"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defTabSz="844083">
              <a:defRPr/>
            </a:pPr>
            <a:r>
              <a:rPr lang="cs-CZ" sz="1300" b="0" i="1" kern="0" dirty="0">
                <a:solidFill>
                  <a:srgbClr val="041E42"/>
                </a:solidFill>
              </a:rPr>
              <a:t>Silniční infrastruktur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A7FCBEB-369B-5751-99D8-851F68359E10}"/>
              </a:ext>
            </a:extLst>
          </p:cNvPr>
          <p:cNvSpPr txBox="1"/>
          <p:nvPr/>
        </p:nvSpPr>
        <p:spPr>
          <a:xfrm>
            <a:off x="3476117" y="6026867"/>
            <a:ext cx="1319890" cy="162976"/>
          </a:xfrm>
          <a:prstGeom prst="rect">
            <a:avLst/>
          </a:prstGeom>
          <a:noFill/>
          <a:ln w="12700">
            <a:noFill/>
          </a:ln>
        </p:spPr>
        <p:txBody>
          <a:bodyPr wrap="square" lIns="33231" tIns="33231" rIns="33231" bIns="33231" rtlCol="0" anchor="ctr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defRPr sz="1300"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defTabSz="844083">
              <a:defRPr/>
            </a:pPr>
            <a:r>
              <a:rPr lang="cs-CZ" sz="1300" b="0" i="1" u="sng" kern="0" dirty="0">
                <a:solidFill>
                  <a:srgbClr val="041E42"/>
                </a:solidFill>
              </a:rPr>
              <a:t>Legenda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B8591D4-6385-0B14-ABEF-370BC81293F1}"/>
              </a:ext>
            </a:extLst>
          </p:cNvPr>
          <p:cNvGrpSpPr/>
          <p:nvPr/>
        </p:nvGrpSpPr>
        <p:grpSpPr>
          <a:xfrm>
            <a:off x="422947" y="2335111"/>
            <a:ext cx="7023223" cy="3996000"/>
            <a:chOff x="5148002" y="2746931"/>
            <a:chExt cx="7023223" cy="3996000"/>
          </a:xfrm>
        </p:grpSpPr>
        <p:grpSp>
          <p:nvGrpSpPr>
            <p:cNvPr id="38" name="POWER_USER_DATA_MAP" descr="{&quot;IsGrandientColor&quot;:true,&quot;GradientColor&quot;:&quot;#D9D9D9&quot;,&quot;IsRangesColor&quot;:false,&quot;RangesSettings&quot;:[{&quot;RangeColorHexa&quot;:&quot;#86BC25&quot;,&quot;ComparisonValue&quot;:1.0,&quot;RangeOperator&quot;:1,&quot;RangeComparison&quot;:0},{&quot;RangeColorHexa&quot;:&quot;#43B02A&quot;,&quot;ComparisonValue&quot;:1.0,&quot;RangeOperator&quot;:1,&quot;RangeComparison&quot;:0}],&quot;RangeName&quot;:&quot;POWER_USER_EXCEL_MAP_68F1D3E9_FF37_49FD_B71F_FD2BF19CDC15&quot;,&quot;Version&quot;:&quot;1.6.1161.0&quot;}">
              <a:extLst>
                <a:ext uri="{FF2B5EF4-FFF2-40B4-BE49-F238E27FC236}">
                  <a16:creationId xmlns:a16="http://schemas.microsoft.com/office/drawing/2014/main" id="{4B38CD0D-BC73-FFED-D2F7-3B9265CBC3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48002" y="2746931"/>
              <a:ext cx="7023223" cy="3996000"/>
              <a:chOff x="1724576" y="1576792"/>
              <a:chExt cx="8742848" cy="4974417"/>
            </a:xfrm>
          </p:grpSpPr>
          <p:grpSp>
            <p:nvGrpSpPr>
              <p:cNvPr id="235" name="Czech_Republic">
                <a:extLst>
                  <a:ext uri="{FF2B5EF4-FFF2-40B4-BE49-F238E27FC236}">
                    <a16:creationId xmlns:a16="http://schemas.microsoft.com/office/drawing/2014/main" id="{29BD7B47-7837-3ADD-9CB0-4D1A5853093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724576" y="1585849"/>
                <a:ext cx="8742848" cy="4965360"/>
                <a:chOff x="1862137" y="1664041"/>
                <a:chExt cx="8742848" cy="4965360"/>
              </a:xfrm>
            </p:grpSpPr>
            <p:grpSp>
              <p:nvGrpSpPr>
                <p:cNvPr id="237" name="Map">
                  <a:extLst>
                    <a:ext uri="{FF2B5EF4-FFF2-40B4-BE49-F238E27FC236}">
                      <a16:creationId xmlns:a16="http://schemas.microsoft.com/office/drawing/2014/main" id="{E4E1B04E-8BC7-90C2-C52A-86330762750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862137" y="1709738"/>
                  <a:ext cx="8642350" cy="4919663"/>
                  <a:chOff x="1173" y="1077"/>
                  <a:chExt cx="5444" cy="3099"/>
                </a:xfrm>
                <a:solidFill>
                  <a:sysClr val="window" lastClr="FFFFFF">
                    <a:lumMod val="85000"/>
                  </a:sysClr>
                </a:solidFill>
              </p:grpSpPr>
              <p:sp>
                <p:nvSpPr>
                  <p:cNvPr id="263" name="Ústecký" descr="{&quot;Key&quot;:&quot;ústecký&quot;,&quot;Name&quot;:&quot;Ústec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E128C84C-A145-C8F0-3BB3-8D23699E41D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86" y="1077"/>
                    <a:ext cx="1347" cy="1221"/>
                  </a:xfrm>
                  <a:custGeom>
                    <a:avLst/>
                    <a:gdLst>
                      <a:gd name="T0" fmla="*/ 2958 w 3088"/>
                      <a:gd name="T1" fmla="*/ 600 h 2798"/>
                      <a:gd name="T2" fmla="*/ 2931 w 3088"/>
                      <a:gd name="T3" fmla="*/ 698 h 2798"/>
                      <a:gd name="T4" fmla="*/ 2865 w 3088"/>
                      <a:gd name="T5" fmla="*/ 742 h 2798"/>
                      <a:gd name="T6" fmla="*/ 2718 w 3088"/>
                      <a:gd name="T7" fmla="*/ 773 h 2798"/>
                      <a:gd name="T8" fmla="*/ 2674 w 3088"/>
                      <a:gd name="T9" fmla="*/ 877 h 2798"/>
                      <a:gd name="T10" fmla="*/ 2560 w 3088"/>
                      <a:gd name="T11" fmla="*/ 1041 h 2798"/>
                      <a:gd name="T12" fmla="*/ 2649 w 3088"/>
                      <a:gd name="T13" fmla="*/ 1418 h 2798"/>
                      <a:gd name="T14" fmla="*/ 2765 w 3088"/>
                      <a:gd name="T15" fmla="*/ 1647 h 2798"/>
                      <a:gd name="T16" fmla="*/ 2739 w 3088"/>
                      <a:gd name="T17" fmla="*/ 1732 h 2798"/>
                      <a:gd name="T18" fmla="*/ 2599 w 3088"/>
                      <a:gd name="T19" fmla="*/ 1784 h 2798"/>
                      <a:gd name="T20" fmla="*/ 2590 w 3088"/>
                      <a:gd name="T21" fmla="*/ 1848 h 2798"/>
                      <a:gd name="T22" fmla="*/ 2589 w 3088"/>
                      <a:gd name="T23" fmla="*/ 1958 h 2798"/>
                      <a:gd name="T24" fmla="*/ 2500 w 3088"/>
                      <a:gd name="T25" fmla="*/ 2022 h 2798"/>
                      <a:gd name="T26" fmla="*/ 2355 w 3088"/>
                      <a:gd name="T27" fmla="*/ 2083 h 2798"/>
                      <a:gd name="T28" fmla="*/ 2024 w 3088"/>
                      <a:gd name="T29" fmla="*/ 2055 h 2798"/>
                      <a:gd name="T30" fmla="*/ 1899 w 3088"/>
                      <a:gd name="T31" fmla="*/ 2095 h 2798"/>
                      <a:gd name="T32" fmla="*/ 1869 w 3088"/>
                      <a:gd name="T33" fmla="*/ 2185 h 2798"/>
                      <a:gd name="T34" fmla="*/ 1679 w 3088"/>
                      <a:gd name="T35" fmla="*/ 2289 h 2798"/>
                      <a:gd name="T36" fmla="*/ 1609 w 3088"/>
                      <a:gd name="T37" fmla="*/ 2304 h 2798"/>
                      <a:gd name="T38" fmla="*/ 1361 w 3088"/>
                      <a:gd name="T39" fmla="*/ 2400 h 2798"/>
                      <a:gd name="T40" fmla="*/ 1275 w 3088"/>
                      <a:gd name="T41" fmla="*/ 2408 h 2798"/>
                      <a:gd name="T42" fmla="*/ 1039 w 3088"/>
                      <a:gd name="T43" fmla="*/ 2547 h 2798"/>
                      <a:gd name="T44" fmla="*/ 910 w 3088"/>
                      <a:gd name="T45" fmla="*/ 2713 h 2798"/>
                      <a:gd name="T46" fmla="*/ 781 w 3088"/>
                      <a:gd name="T47" fmla="*/ 2798 h 2798"/>
                      <a:gd name="T48" fmla="*/ 624 w 3088"/>
                      <a:gd name="T49" fmla="*/ 2727 h 2798"/>
                      <a:gd name="T50" fmla="*/ 528 w 3088"/>
                      <a:gd name="T51" fmla="*/ 2638 h 2798"/>
                      <a:gd name="T52" fmla="*/ 557 w 3088"/>
                      <a:gd name="T53" fmla="*/ 2504 h 2798"/>
                      <a:gd name="T54" fmla="*/ 509 w 3088"/>
                      <a:gd name="T55" fmla="*/ 2349 h 2798"/>
                      <a:gd name="T56" fmla="*/ 500 w 3088"/>
                      <a:gd name="T57" fmla="*/ 2167 h 2798"/>
                      <a:gd name="T58" fmla="*/ 465 w 3088"/>
                      <a:gd name="T59" fmla="*/ 2046 h 2798"/>
                      <a:gd name="T60" fmla="*/ 260 w 3088"/>
                      <a:gd name="T61" fmla="*/ 1987 h 2798"/>
                      <a:gd name="T62" fmla="*/ 93 w 3088"/>
                      <a:gd name="T63" fmla="*/ 1909 h 2798"/>
                      <a:gd name="T64" fmla="*/ 78 w 3088"/>
                      <a:gd name="T65" fmla="*/ 1716 h 2798"/>
                      <a:gd name="T66" fmla="*/ 150 w 3088"/>
                      <a:gd name="T67" fmla="*/ 1598 h 2798"/>
                      <a:gd name="T68" fmla="*/ 270 w 3088"/>
                      <a:gd name="T69" fmla="*/ 1579 h 2798"/>
                      <a:gd name="T70" fmla="*/ 536 w 3088"/>
                      <a:gd name="T71" fmla="*/ 1342 h 2798"/>
                      <a:gd name="T72" fmla="*/ 666 w 3088"/>
                      <a:gd name="T73" fmla="*/ 1279 h 2798"/>
                      <a:gd name="T74" fmla="*/ 775 w 3088"/>
                      <a:gd name="T75" fmla="*/ 1212 h 2798"/>
                      <a:gd name="T76" fmla="*/ 899 w 3088"/>
                      <a:gd name="T77" fmla="*/ 1294 h 2798"/>
                      <a:gd name="T78" fmla="*/ 993 w 3088"/>
                      <a:gd name="T79" fmla="*/ 1184 h 2798"/>
                      <a:gd name="T80" fmla="*/ 1024 w 3088"/>
                      <a:gd name="T81" fmla="*/ 1022 h 2798"/>
                      <a:gd name="T82" fmla="*/ 1454 w 3088"/>
                      <a:gd name="T83" fmla="*/ 927 h 2798"/>
                      <a:gd name="T84" fmla="*/ 1676 w 3088"/>
                      <a:gd name="T85" fmla="*/ 892 h 2798"/>
                      <a:gd name="T86" fmla="*/ 1694 w 3088"/>
                      <a:gd name="T87" fmla="*/ 809 h 2798"/>
                      <a:gd name="T88" fmla="*/ 1776 w 3088"/>
                      <a:gd name="T89" fmla="*/ 762 h 2798"/>
                      <a:gd name="T90" fmla="*/ 1946 w 3088"/>
                      <a:gd name="T91" fmla="*/ 698 h 2798"/>
                      <a:gd name="T92" fmla="*/ 2345 w 3088"/>
                      <a:gd name="T93" fmla="*/ 472 h 2798"/>
                      <a:gd name="T94" fmla="*/ 2573 w 3088"/>
                      <a:gd name="T95" fmla="*/ 322 h 2798"/>
                      <a:gd name="T96" fmla="*/ 2478 w 3088"/>
                      <a:gd name="T97" fmla="*/ 207 h 2798"/>
                      <a:gd name="T98" fmla="*/ 2404 w 3088"/>
                      <a:gd name="T99" fmla="*/ 55 h 2798"/>
                      <a:gd name="T100" fmla="*/ 2599 w 3088"/>
                      <a:gd name="T101" fmla="*/ 52 h 2798"/>
                      <a:gd name="T102" fmla="*/ 2770 w 3088"/>
                      <a:gd name="T103" fmla="*/ 60 h 2798"/>
                      <a:gd name="T104" fmla="*/ 2828 w 3088"/>
                      <a:gd name="T105" fmla="*/ 69 h 2798"/>
                      <a:gd name="T106" fmla="*/ 2963 w 3088"/>
                      <a:gd name="T107" fmla="*/ 167 h 2798"/>
                      <a:gd name="T108" fmla="*/ 2943 w 3088"/>
                      <a:gd name="T109" fmla="*/ 339 h 2798"/>
                      <a:gd name="T110" fmla="*/ 3088 w 3088"/>
                      <a:gd name="T111" fmla="*/ 383 h 27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3088" h="2798">
                        <a:moveTo>
                          <a:pt x="3040" y="548"/>
                        </a:moveTo>
                        <a:lnTo>
                          <a:pt x="3034" y="573"/>
                        </a:lnTo>
                        <a:lnTo>
                          <a:pt x="3021" y="591"/>
                        </a:lnTo>
                        <a:lnTo>
                          <a:pt x="3013" y="595"/>
                        </a:lnTo>
                        <a:lnTo>
                          <a:pt x="2958" y="600"/>
                        </a:lnTo>
                        <a:lnTo>
                          <a:pt x="2950" y="607"/>
                        </a:lnTo>
                        <a:lnTo>
                          <a:pt x="2944" y="617"/>
                        </a:lnTo>
                        <a:lnTo>
                          <a:pt x="2940" y="632"/>
                        </a:lnTo>
                        <a:lnTo>
                          <a:pt x="2936" y="677"/>
                        </a:lnTo>
                        <a:lnTo>
                          <a:pt x="2931" y="698"/>
                        </a:lnTo>
                        <a:lnTo>
                          <a:pt x="2921" y="717"/>
                        </a:lnTo>
                        <a:lnTo>
                          <a:pt x="2910" y="732"/>
                        </a:lnTo>
                        <a:lnTo>
                          <a:pt x="2896" y="742"/>
                        </a:lnTo>
                        <a:lnTo>
                          <a:pt x="2880" y="745"/>
                        </a:lnTo>
                        <a:lnTo>
                          <a:pt x="2865" y="742"/>
                        </a:lnTo>
                        <a:lnTo>
                          <a:pt x="2769" y="642"/>
                        </a:lnTo>
                        <a:lnTo>
                          <a:pt x="2755" y="636"/>
                        </a:lnTo>
                        <a:lnTo>
                          <a:pt x="2745" y="638"/>
                        </a:lnTo>
                        <a:lnTo>
                          <a:pt x="2739" y="653"/>
                        </a:lnTo>
                        <a:lnTo>
                          <a:pt x="2718" y="773"/>
                        </a:lnTo>
                        <a:lnTo>
                          <a:pt x="2694" y="796"/>
                        </a:lnTo>
                        <a:lnTo>
                          <a:pt x="2680" y="819"/>
                        </a:lnTo>
                        <a:lnTo>
                          <a:pt x="2676" y="834"/>
                        </a:lnTo>
                        <a:lnTo>
                          <a:pt x="2676" y="864"/>
                        </a:lnTo>
                        <a:lnTo>
                          <a:pt x="2674" y="877"/>
                        </a:lnTo>
                        <a:lnTo>
                          <a:pt x="2669" y="887"/>
                        </a:lnTo>
                        <a:lnTo>
                          <a:pt x="2628" y="927"/>
                        </a:lnTo>
                        <a:lnTo>
                          <a:pt x="2620" y="937"/>
                        </a:lnTo>
                        <a:lnTo>
                          <a:pt x="2586" y="1024"/>
                        </a:lnTo>
                        <a:lnTo>
                          <a:pt x="2560" y="1041"/>
                        </a:lnTo>
                        <a:lnTo>
                          <a:pt x="2551" y="1051"/>
                        </a:lnTo>
                        <a:lnTo>
                          <a:pt x="2545" y="1062"/>
                        </a:lnTo>
                        <a:lnTo>
                          <a:pt x="2543" y="1074"/>
                        </a:lnTo>
                        <a:lnTo>
                          <a:pt x="2545" y="1091"/>
                        </a:lnTo>
                        <a:lnTo>
                          <a:pt x="2649" y="1418"/>
                        </a:lnTo>
                        <a:lnTo>
                          <a:pt x="2780" y="1527"/>
                        </a:lnTo>
                        <a:lnTo>
                          <a:pt x="2794" y="1593"/>
                        </a:lnTo>
                        <a:lnTo>
                          <a:pt x="2781" y="1602"/>
                        </a:lnTo>
                        <a:lnTo>
                          <a:pt x="2769" y="1623"/>
                        </a:lnTo>
                        <a:lnTo>
                          <a:pt x="2765" y="1647"/>
                        </a:lnTo>
                        <a:lnTo>
                          <a:pt x="2765" y="1664"/>
                        </a:lnTo>
                        <a:lnTo>
                          <a:pt x="2763" y="1688"/>
                        </a:lnTo>
                        <a:lnTo>
                          <a:pt x="2756" y="1711"/>
                        </a:lnTo>
                        <a:lnTo>
                          <a:pt x="2750" y="1723"/>
                        </a:lnTo>
                        <a:lnTo>
                          <a:pt x="2739" y="1732"/>
                        </a:lnTo>
                        <a:lnTo>
                          <a:pt x="2724" y="1741"/>
                        </a:lnTo>
                        <a:lnTo>
                          <a:pt x="2670" y="1786"/>
                        </a:lnTo>
                        <a:lnTo>
                          <a:pt x="2643" y="1799"/>
                        </a:lnTo>
                        <a:lnTo>
                          <a:pt x="2624" y="1796"/>
                        </a:lnTo>
                        <a:lnTo>
                          <a:pt x="2599" y="1784"/>
                        </a:lnTo>
                        <a:lnTo>
                          <a:pt x="2584" y="1782"/>
                        </a:lnTo>
                        <a:lnTo>
                          <a:pt x="2578" y="1788"/>
                        </a:lnTo>
                        <a:lnTo>
                          <a:pt x="2575" y="1799"/>
                        </a:lnTo>
                        <a:lnTo>
                          <a:pt x="2579" y="1811"/>
                        </a:lnTo>
                        <a:lnTo>
                          <a:pt x="2590" y="1848"/>
                        </a:lnTo>
                        <a:lnTo>
                          <a:pt x="2590" y="1859"/>
                        </a:lnTo>
                        <a:lnTo>
                          <a:pt x="2589" y="1887"/>
                        </a:lnTo>
                        <a:lnTo>
                          <a:pt x="2600" y="1927"/>
                        </a:lnTo>
                        <a:lnTo>
                          <a:pt x="2599" y="1944"/>
                        </a:lnTo>
                        <a:lnTo>
                          <a:pt x="2589" y="1958"/>
                        </a:lnTo>
                        <a:lnTo>
                          <a:pt x="2576" y="1992"/>
                        </a:lnTo>
                        <a:lnTo>
                          <a:pt x="2561" y="2013"/>
                        </a:lnTo>
                        <a:lnTo>
                          <a:pt x="2546" y="2022"/>
                        </a:lnTo>
                        <a:lnTo>
                          <a:pt x="2533" y="2024"/>
                        </a:lnTo>
                        <a:lnTo>
                          <a:pt x="2500" y="2022"/>
                        </a:lnTo>
                        <a:lnTo>
                          <a:pt x="2447" y="2027"/>
                        </a:lnTo>
                        <a:lnTo>
                          <a:pt x="2434" y="2030"/>
                        </a:lnTo>
                        <a:lnTo>
                          <a:pt x="2419" y="2041"/>
                        </a:lnTo>
                        <a:lnTo>
                          <a:pt x="2379" y="2074"/>
                        </a:lnTo>
                        <a:lnTo>
                          <a:pt x="2355" y="2083"/>
                        </a:lnTo>
                        <a:lnTo>
                          <a:pt x="2295" y="2060"/>
                        </a:lnTo>
                        <a:lnTo>
                          <a:pt x="2150" y="2085"/>
                        </a:lnTo>
                        <a:lnTo>
                          <a:pt x="2112" y="2080"/>
                        </a:lnTo>
                        <a:lnTo>
                          <a:pt x="2070" y="2065"/>
                        </a:lnTo>
                        <a:lnTo>
                          <a:pt x="2024" y="2055"/>
                        </a:lnTo>
                        <a:lnTo>
                          <a:pt x="1947" y="2058"/>
                        </a:lnTo>
                        <a:lnTo>
                          <a:pt x="1925" y="2064"/>
                        </a:lnTo>
                        <a:lnTo>
                          <a:pt x="1910" y="2070"/>
                        </a:lnTo>
                        <a:lnTo>
                          <a:pt x="1902" y="2083"/>
                        </a:lnTo>
                        <a:lnTo>
                          <a:pt x="1899" y="2095"/>
                        </a:lnTo>
                        <a:lnTo>
                          <a:pt x="1896" y="2124"/>
                        </a:lnTo>
                        <a:lnTo>
                          <a:pt x="1899" y="2142"/>
                        </a:lnTo>
                        <a:lnTo>
                          <a:pt x="1894" y="2163"/>
                        </a:lnTo>
                        <a:lnTo>
                          <a:pt x="1884" y="2179"/>
                        </a:lnTo>
                        <a:lnTo>
                          <a:pt x="1869" y="2185"/>
                        </a:lnTo>
                        <a:lnTo>
                          <a:pt x="1854" y="2187"/>
                        </a:lnTo>
                        <a:lnTo>
                          <a:pt x="1829" y="2185"/>
                        </a:lnTo>
                        <a:lnTo>
                          <a:pt x="1811" y="2192"/>
                        </a:lnTo>
                        <a:lnTo>
                          <a:pt x="1701" y="2260"/>
                        </a:lnTo>
                        <a:lnTo>
                          <a:pt x="1679" y="2289"/>
                        </a:lnTo>
                        <a:lnTo>
                          <a:pt x="1669" y="2300"/>
                        </a:lnTo>
                        <a:lnTo>
                          <a:pt x="1647" y="2317"/>
                        </a:lnTo>
                        <a:lnTo>
                          <a:pt x="1635" y="2319"/>
                        </a:lnTo>
                        <a:lnTo>
                          <a:pt x="1621" y="2314"/>
                        </a:lnTo>
                        <a:lnTo>
                          <a:pt x="1609" y="2304"/>
                        </a:lnTo>
                        <a:lnTo>
                          <a:pt x="1594" y="2298"/>
                        </a:lnTo>
                        <a:lnTo>
                          <a:pt x="1579" y="2299"/>
                        </a:lnTo>
                        <a:lnTo>
                          <a:pt x="1403" y="2392"/>
                        </a:lnTo>
                        <a:lnTo>
                          <a:pt x="1370" y="2400"/>
                        </a:lnTo>
                        <a:lnTo>
                          <a:pt x="1361" y="2400"/>
                        </a:lnTo>
                        <a:lnTo>
                          <a:pt x="1343" y="2392"/>
                        </a:lnTo>
                        <a:lnTo>
                          <a:pt x="1330" y="2389"/>
                        </a:lnTo>
                        <a:lnTo>
                          <a:pt x="1310" y="2389"/>
                        </a:lnTo>
                        <a:lnTo>
                          <a:pt x="1295" y="2394"/>
                        </a:lnTo>
                        <a:lnTo>
                          <a:pt x="1275" y="2408"/>
                        </a:lnTo>
                        <a:lnTo>
                          <a:pt x="1258" y="2425"/>
                        </a:lnTo>
                        <a:lnTo>
                          <a:pt x="1179" y="2477"/>
                        </a:lnTo>
                        <a:lnTo>
                          <a:pt x="1070" y="2522"/>
                        </a:lnTo>
                        <a:lnTo>
                          <a:pt x="1049" y="2534"/>
                        </a:lnTo>
                        <a:lnTo>
                          <a:pt x="1039" y="2547"/>
                        </a:lnTo>
                        <a:lnTo>
                          <a:pt x="1014" y="2585"/>
                        </a:lnTo>
                        <a:lnTo>
                          <a:pt x="996" y="2628"/>
                        </a:lnTo>
                        <a:lnTo>
                          <a:pt x="979" y="2650"/>
                        </a:lnTo>
                        <a:lnTo>
                          <a:pt x="958" y="2665"/>
                        </a:lnTo>
                        <a:lnTo>
                          <a:pt x="910" y="2713"/>
                        </a:lnTo>
                        <a:lnTo>
                          <a:pt x="891" y="2722"/>
                        </a:lnTo>
                        <a:lnTo>
                          <a:pt x="863" y="2729"/>
                        </a:lnTo>
                        <a:lnTo>
                          <a:pt x="840" y="2742"/>
                        </a:lnTo>
                        <a:lnTo>
                          <a:pt x="820" y="2769"/>
                        </a:lnTo>
                        <a:lnTo>
                          <a:pt x="781" y="2798"/>
                        </a:lnTo>
                        <a:lnTo>
                          <a:pt x="756" y="2797"/>
                        </a:lnTo>
                        <a:lnTo>
                          <a:pt x="673" y="2777"/>
                        </a:lnTo>
                        <a:lnTo>
                          <a:pt x="656" y="2768"/>
                        </a:lnTo>
                        <a:lnTo>
                          <a:pt x="644" y="2755"/>
                        </a:lnTo>
                        <a:lnTo>
                          <a:pt x="624" y="2727"/>
                        </a:lnTo>
                        <a:lnTo>
                          <a:pt x="608" y="2708"/>
                        </a:lnTo>
                        <a:lnTo>
                          <a:pt x="585" y="2688"/>
                        </a:lnTo>
                        <a:lnTo>
                          <a:pt x="546" y="2661"/>
                        </a:lnTo>
                        <a:lnTo>
                          <a:pt x="533" y="2647"/>
                        </a:lnTo>
                        <a:lnTo>
                          <a:pt x="528" y="2638"/>
                        </a:lnTo>
                        <a:lnTo>
                          <a:pt x="534" y="2619"/>
                        </a:lnTo>
                        <a:lnTo>
                          <a:pt x="561" y="2584"/>
                        </a:lnTo>
                        <a:lnTo>
                          <a:pt x="575" y="2559"/>
                        </a:lnTo>
                        <a:lnTo>
                          <a:pt x="570" y="2536"/>
                        </a:lnTo>
                        <a:lnTo>
                          <a:pt x="557" y="2504"/>
                        </a:lnTo>
                        <a:lnTo>
                          <a:pt x="519" y="2444"/>
                        </a:lnTo>
                        <a:lnTo>
                          <a:pt x="505" y="2415"/>
                        </a:lnTo>
                        <a:lnTo>
                          <a:pt x="499" y="2392"/>
                        </a:lnTo>
                        <a:lnTo>
                          <a:pt x="507" y="2364"/>
                        </a:lnTo>
                        <a:lnTo>
                          <a:pt x="509" y="2349"/>
                        </a:lnTo>
                        <a:lnTo>
                          <a:pt x="506" y="2319"/>
                        </a:lnTo>
                        <a:lnTo>
                          <a:pt x="500" y="2282"/>
                        </a:lnTo>
                        <a:lnTo>
                          <a:pt x="496" y="2248"/>
                        </a:lnTo>
                        <a:lnTo>
                          <a:pt x="496" y="2229"/>
                        </a:lnTo>
                        <a:lnTo>
                          <a:pt x="500" y="2167"/>
                        </a:lnTo>
                        <a:lnTo>
                          <a:pt x="499" y="2142"/>
                        </a:lnTo>
                        <a:lnTo>
                          <a:pt x="496" y="2117"/>
                        </a:lnTo>
                        <a:lnTo>
                          <a:pt x="486" y="2078"/>
                        </a:lnTo>
                        <a:lnTo>
                          <a:pt x="478" y="2059"/>
                        </a:lnTo>
                        <a:lnTo>
                          <a:pt x="465" y="2046"/>
                        </a:lnTo>
                        <a:lnTo>
                          <a:pt x="438" y="2031"/>
                        </a:lnTo>
                        <a:lnTo>
                          <a:pt x="385" y="2017"/>
                        </a:lnTo>
                        <a:lnTo>
                          <a:pt x="329" y="2014"/>
                        </a:lnTo>
                        <a:lnTo>
                          <a:pt x="283" y="2004"/>
                        </a:lnTo>
                        <a:lnTo>
                          <a:pt x="260" y="1987"/>
                        </a:lnTo>
                        <a:lnTo>
                          <a:pt x="246" y="1969"/>
                        </a:lnTo>
                        <a:lnTo>
                          <a:pt x="234" y="1944"/>
                        </a:lnTo>
                        <a:lnTo>
                          <a:pt x="225" y="1932"/>
                        </a:lnTo>
                        <a:lnTo>
                          <a:pt x="214" y="1923"/>
                        </a:lnTo>
                        <a:lnTo>
                          <a:pt x="93" y="1909"/>
                        </a:lnTo>
                        <a:lnTo>
                          <a:pt x="61" y="1892"/>
                        </a:lnTo>
                        <a:lnTo>
                          <a:pt x="0" y="1839"/>
                        </a:lnTo>
                        <a:lnTo>
                          <a:pt x="40" y="1801"/>
                        </a:lnTo>
                        <a:lnTo>
                          <a:pt x="66" y="1769"/>
                        </a:lnTo>
                        <a:lnTo>
                          <a:pt x="78" y="1716"/>
                        </a:lnTo>
                        <a:lnTo>
                          <a:pt x="90" y="1598"/>
                        </a:lnTo>
                        <a:lnTo>
                          <a:pt x="105" y="1587"/>
                        </a:lnTo>
                        <a:lnTo>
                          <a:pt x="120" y="1583"/>
                        </a:lnTo>
                        <a:lnTo>
                          <a:pt x="136" y="1587"/>
                        </a:lnTo>
                        <a:lnTo>
                          <a:pt x="150" y="1598"/>
                        </a:lnTo>
                        <a:lnTo>
                          <a:pt x="166" y="1602"/>
                        </a:lnTo>
                        <a:lnTo>
                          <a:pt x="184" y="1604"/>
                        </a:lnTo>
                        <a:lnTo>
                          <a:pt x="201" y="1603"/>
                        </a:lnTo>
                        <a:lnTo>
                          <a:pt x="219" y="1598"/>
                        </a:lnTo>
                        <a:lnTo>
                          <a:pt x="270" y="1579"/>
                        </a:lnTo>
                        <a:lnTo>
                          <a:pt x="368" y="1586"/>
                        </a:lnTo>
                        <a:lnTo>
                          <a:pt x="413" y="1552"/>
                        </a:lnTo>
                        <a:lnTo>
                          <a:pt x="439" y="1503"/>
                        </a:lnTo>
                        <a:lnTo>
                          <a:pt x="501" y="1338"/>
                        </a:lnTo>
                        <a:lnTo>
                          <a:pt x="536" y="1342"/>
                        </a:lnTo>
                        <a:lnTo>
                          <a:pt x="566" y="1363"/>
                        </a:lnTo>
                        <a:lnTo>
                          <a:pt x="598" y="1377"/>
                        </a:lnTo>
                        <a:lnTo>
                          <a:pt x="636" y="1357"/>
                        </a:lnTo>
                        <a:lnTo>
                          <a:pt x="655" y="1298"/>
                        </a:lnTo>
                        <a:lnTo>
                          <a:pt x="666" y="1279"/>
                        </a:lnTo>
                        <a:lnTo>
                          <a:pt x="735" y="1229"/>
                        </a:lnTo>
                        <a:lnTo>
                          <a:pt x="746" y="1218"/>
                        </a:lnTo>
                        <a:lnTo>
                          <a:pt x="748" y="1207"/>
                        </a:lnTo>
                        <a:lnTo>
                          <a:pt x="753" y="1204"/>
                        </a:lnTo>
                        <a:lnTo>
                          <a:pt x="775" y="1212"/>
                        </a:lnTo>
                        <a:lnTo>
                          <a:pt x="785" y="1223"/>
                        </a:lnTo>
                        <a:lnTo>
                          <a:pt x="811" y="1267"/>
                        </a:lnTo>
                        <a:lnTo>
                          <a:pt x="823" y="1282"/>
                        </a:lnTo>
                        <a:lnTo>
                          <a:pt x="864" y="1303"/>
                        </a:lnTo>
                        <a:lnTo>
                          <a:pt x="899" y="1294"/>
                        </a:lnTo>
                        <a:lnTo>
                          <a:pt x="930" y="1265"/>
                        </a:lnTo>
                        <a:lnTo>
                          <a:pt x="961" y="1225"/>
                        </a:lnTo>
                        <a:lnTo>
                          <a:pt x="980" y="1215"/>
                        </a:lnTo>
                        <a:lnTo>
                          <a:pt x="991" y="1202"/>
                        </a:lnTo>
                        <a:lnTo>
                          <a:pt x="993" y="1184"/>
                        </a:lnTo>
                        <a:lnTo>
                          <a:pt x="983" y="1160"/>
                        </a:lnTo>
                        <a:lnTo>
                          <a:pt x="1013" y="1137"/>
                        </a:lnTo>
                        <a:lnTo>
                          <a:pt x="1038" y="1105"/>
                        </a:lnTo>
                        <a:lnTo>
                          <a:pt x="1045" y="1065"/>
                        </a:lnTo>
                        <a:lnTo>
                          <a:pt x="1024" y="1022"/>
                        </a:lnTo>
                        <a:lnTo>
                          <a:pt x="1099" y="975"/>
                        </a:lnTo>
                        <a:lnTo>
                          <a:pt x="1183" y="959"/>
                        </a:lnTo>
                        <a:lnTo>
                          <a:pt x="1349" y="960"/>
                        </a:lnTo>
                        <a:lnTo>
                          <a:pt x="1384" y="953"/>
                        </a:lnTo>
                        <a:lnTo>
                          <a:pt x="1454" y="927"/>
                        </a:lnTo>
                        <a:lnTo>
                          <a:pt x="1494" y="923"/>
                        </a:lnTo>
                        <a:lnTo>
                          <a:pt x="1579" y="933"/>
                        </a:lnTo>
                        <a:lnTo>
                          <a:pt x="1611" y="925"/>
                        </a:lnTo>
                        <a:lnTo>
                          <a:pt x="1665" y="893"/>
                        </a:lnTo>
                        <a:lnTo>
                          <a:pt x="1676" y="892"/>
                        </a:lnTo>
                        <a:lnTo>
                          <a:pt x="1688" y="888"/>
                        </a:lnTo>
                        <a:lnTo>
                          <a:pt x="1700" y="870"/>
                        </a:lnTo>
                        <a:lnTo>
                          <a:pt x="1701" y="855"/>
                        </a:lnTo>
                        <a:lnTo>
                          <a:pt x="1696" y="834"/>
                        </a:lnTo>
                        <a:lnTo>
                          <a:pt x="1694" y="809"/>
                        </a:lnTo>
                        <a:lnTo>
                          <a:pt x="1701" y="782"/>
                        </a:lnTo>
                        <a:lnTo>
                          <a:pt x="1719" y="760"/>
                        </a:lnTo>
                        <a:lnTo>
                          <a:pt x="1735" y="759"/>
                        </a:lnTo>
                        <a:lnTo>
                          <a:pt x="1753" y="765"/>
                        </a:lnTo>
                        <a:lnTo>
                          <a:pt x="1776" y="762"/>
                        </a:lnTo>
                        <a:lnTo>
                          <a:pt x="1795" y="748"/>
                        </a:lnTo>
                        <a:lnTo>
                          <a:pt x="1823" y="712"/>
                        </a:lnTo>
                        <a:lnTo>
                          <a:pt x="1843" y="697"/>
                        </a:lnTo>
                        <a:lnTo>
                          <a:pt x="1879" y="689"/>
                        </a:lnTo>
                        <a:lnTo>
                          <a:pt x="1946" y="698"/>
                        </a:lnTo>
                        <a:lnTo>
                          <a:pt x="1981" y="695"/>
                        </a:lnTo>
                        <a:lnTo>
                          <a:pt x="2269" y="563"/>
                        </a:lnTo>
                        <a:lnTo>
                          <a:pt x="2291" y="542"/>
                        </a:lnTo>
                        <a:lnTo>
                          <a:pt x="2325" y="490"/>
                        </a:lnTo>
                        <a:lnTo>
                          <a:pt x="2345" y="472"/>
                        </a:lnTo>
                        <a:lnTo>
                          <a:pt x="2411" y="457"/>
                        </a:lnTo>
                        <a:lnTo>
                          <a:pt x="2556" y="469"/>
                        </a:lnTo>
                        <a:lnTo>
                          <a:pt x="2611" y="423"/>
                        </a:lnTo>
                        <a:lnTo>
                          <a:pt x="2621" y="349"/>
                        </a:lnTo>
                        <a:lnTo>
                          <a:pt x="2573" y="322"/>
                        </a:lnTo>
                        <a:lnTo>
                          <a:pt x="2505" y="300"/>
                        </a:lnTo>
                        <a:lnTo>
                          <a:pt x="2458" y="254"/>
                        </a:lnTo>
                        <a:lnTo>
                          <a:pt x="2459" y="223"/>
                        </a:lnTo>
                        <a:lnTo>
                          <a:pt x="2475" y="213"/>
                        </a:lnTo>
                        <a:lnTo>
                          <a:pt x="2478" y="207"/>
                        </a:lnTo>
                        <a:lnTo>
                          <a:pt x="2441" y="192"/>
                        </a:lnTo>
                        <a:lnTo>
                          <a:pt x="2379" y="183"/>
                        </a:lnTo>
                        <a:lnTo>
                          <a:pt x="2358" y="169"/>
                        </a:lnTo>
                        <a:lnTo>
                          <a:pt x="2378" y="139"/>
                        </a:lnTo>
                        <a:lnTo>
                          <a:pt x="2404" y="55"/>
                        </a:lnTo>
                        <a:lnTo>
                          <a:pt x="2448" y="9"/>
                        </a:lnTo>
                        <a:lnTo>
                          <a:pt x="2506" y="0"/>
                        </a:lnTo>
                        <a:lnTo>
                          <a:pt x="2575" y="23"/>
                        </a:lnTo>
                        <a:lnTo>
                          <a:pt x="2589" y="35"/>
                        </a:lnTo>
                        <a:lnTo>
                          <a:pt x="2599" y="52"/>
                        </a:lnTo>
                        <a:lnTo>
                          <a:pt x="2611" y="68"/>
                        </a:lnTo>
                        <a:lnTo>
                          <a:pt x="2631" y="79"/>
                        </a:lnTo>
                        <a:lnTo>
                          <a:pt x="2651" y="79"/>
                        </a:lnTo>
                        <a:lnTo>
                          <a:pt x="2703" y="57"/>
                        </a:lnTo>
                        <a:lnTo>
                          <a:pt x="2770" y="60"/>
                        </a:lnTo>
                        <a:lnTo>
                          <a:pt x="2791" y="49"/>
                        </a:lnTo>
                        <a:lnTo>
                          <a:pt x="2806" y="9"/>
                        </a:lnTo>
                        <a:lnTo>
                          <a:pt x="2818" y="34"/>
                        </a:lnTo>
                        <a:lnTo>
                          <a:pt x="2821" y="52"/>
                        </a:lnTo>
                        <a:lnTo>
                          <a:pt x="2828" y="69"/>
                        </a:lnTo>
                        <a:lnTo>
                          <a:pt x="2845" y="93"/>
                        </a:lnTo>
                        <a:lnTo>
                          <a:pt x="2868" y="109"/>
                        </a:lnTo>
                        <a:lnTo>
                          <a:pt x="2918" y="122"/>
                        </a:lnTo>
                        <a:lnTo>
                          <a:pt x="2940" y="139"/>
                        </a:lnTo>
                        <a:lnTo>
                          <a:pt x="2963" y="167"/>
                        </a:lnTo>
                        <a:lnTo>
                          <a:pt x="2976" y="189"/>
                        </a:lnTo>
                        <a:lnTo>
                          <a:pt x="2983" y="218"/>
                        </a:lnTo>
                        <a:lnTo>
                          <a:pt x="2979" y="263"/>
                        </a:lnTo>
                        <a:lnTo>
                          <a:pt x="2965" y="298"/>
                        </a:lnTo>
                        <a:lnTo>
                          <a:pt x="2943" y="339"/>
                        </a:lnTo>
                        <a:lnTo>
                          <a:pt x="2933" y="375"/>
                        </a:lnTo>
                        <a:lnTo>
                          <a:pt x="2954" y="392"/>
                        </a:lnTo>
                        <a:lnTo>
                          <a:pt x="3056" y="349"/>
                        </a:lnTo>
                        <a:lnTo>
                          <a:pt x="3078" y="350"/>
                        </a:lnTo>
                        <a:lnTo>
                          <a:pt x="3088" y="383"/>
                        </a:lnTo>
                        <a:lnTo>
                          <a:pt x="3078" y="422"/>
                        </a:lnTo>
                        <a:lnTo>
                          <a:pt x="3046" y="495"/>
                        </a:lnTo>
                        <a:lnTo>
                          <a:pt x="3040" y="548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4" name="Plzeňský" descr="{&quot;Key&quot;:&quot;plzeňský&quot;,&quot;Name&quot;:&quot;Plzeň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CB5576AB-4A69-5BD1-4506-6B46B59A762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21" y="2259"/>
                    <a:ext cx="1169" cy="1453"/>
                  </a:xfrm>
                  <a:custGeom>
                    <a:avLst/>
                    <a:gdLst>
                      <a:gd name="T0" fmla="*/ 1888 w 2679"/>
                      <a:gd name="T1" fmla="*/ 196 h 3330"/>
                      <a:gd name="T2" fmla="*/ 1943 w 2679"/>
                      <a:gd name="T3" fmla="*/ 217 h 3330"/>
                      <a:gd name="T4" fmla="*/ 2088 w 2679"/>
                      <a:gd name="T5" fmla="*/ 226 h 3330"/>
                      <a:gd name="T6" fmla="*/ 2276 w 2679"/>
                      <a:gd name="T7" fmla="*/ 319 h 3330"/>
                      <a:gd name="T8" fmla="*/ 2381 w 2679"/>
                      <a:gd name="T9" fmla="*/ 349 h 3330"/>
                      <a:gd name="T10" fmla="*/ 2525 w 2679"/>
                      <a:gd name="T11" fmla="*/ 445 h 3330"/>
                      <a:gd name="T12" fmla="*/ 2660 w 2679"/>
                      <a:gd name="T13" fmla="*/ 560 h 3330"/>
                      <a:gd name="T14" fmla="*/ 2679 w 2679"/>
                      <a:gd name="T15" fmla="*/ 685 h 3330"/>
                      <a:gd name="T16" fmla="*/ 2623 w 2679"/>
                      <a:gd name="T17" fmla="*/ 774 h 3330"/>
                      <a:gd name="T18" fmla="*/ 2603 w 2679"/>
                      <a:gd name="T19" fmla="*/ 913 h 3330"/>
                      <a:gd name="T20" fmla="*/ 2605 w 2679"/>
                      <a:gd name="T21" fmla="*/ 1026 h 3330"/>
                      <a:gd name="T22" fmla="*/ 2571 w 2679"/>
                      <a:gd name="T23" fmla="*/ 1116 h 3330"/>
                      <a:gd name="T24" fmla="*/ 2445 w 2679"/>
                      <a:gd name="T25" fmla="*/ 1174 h 3330"/>
                      <a:gd name="T26" fmla="*/ 2444 w 2679"/>
                      <a:gd name="T27" fmla="*/ 1259 h 3330"/>
                      <a:gd name="T28" fmla="*/ 2418 w 2679"/>
                      <a:gd name="T29" fmla="*/ 1299 h 3330"/>
                      <a:gd name="T30" fmla="*/ 2426 w 2679"/>
                      <a:gd name="T31" fmla="*/ 1363 h 3330"/>
                      <a:gd name="T32" fmla="*/ 2478 w 2679"/>
                      <a:gd name="T33" fmla="*/ 1418 h 3330"/>
                      <a:gd name="T34" fmla="*/ 2505 w 2679"/>
                      <a:gd name="T35" fmla="*/ 1566 h 3330"/>
                      <a:gd name="T36" fmla="*/ 2550 w 2679"/>
                      <a:gd name="T37" fmla="*/ 1658 h 3330"/>
                      <a:gd name="T38" fmla="*/ 2558 w 2679"/>
                      <a:gd name="T39" fmla="*/ 1829 h 3330"/>
                      <a:gd name="T40" fmla="*/ 2565 w 2679"/>
                      <a:gd name="T41" fmla="*/ 2056 h 3330"/>
                      <a:gd name="T42" fmla="*/ 2571 w 2679"/>
                      <a:gd name="T43" fmla="*/ 2201 h 3330"/>
                      <a:gd name="T44" fmla="*/ 2486 w 2679"/>
                      <a:gd name="T45" fmla="*/ 2373 h 3330"/>
                      <a:gd name="T46" fmla="*/ 2448 w 2679"/>
                      <a:gd name="T47" fmla="*/ 2474 h 3330"/>
                      <a:gd name="T48" fmla="*/ 2423 w 2679"/>
                      <a:gd name="T49" fmla="*/ 2543 h 3330"/>
                      <a:gd name="T50" fmla="*/ 2453 w 2679"/>
                      <a:gd name="T51" fmla="*/ 2619 h 3330"/>
                      <a:gd name="T52" fmla="*/ 2335 w 2679"/>
                      <a:gd name="T53" fmla="*/ 2770 h 3330"/>
                      <a:gd name="T54" fmla="*/ 2238 w 2679"/>
                      <a:gd name="T55" fmla="*/ 2864 h 3330"/>
                      <a:gd name="T56" fmla="*/ 2230 w 2679"/>
                      <a:gd name="T57" fmla="*/ 3006 h 3330"/>
                      <a:gd name="T58" fmla="*/ 2101 w 2679"/>
                      <a:gd name="T59" fmla="*/ 3240 h 3330"/>
                      <a:gd name="T60" fmla="*/ 1984 w 2679"/>
                      <a:gd name="T61" fmla="*/ 3309 h 3330"/>
                      <a:gd name="T62" fmla="*/ 1824 w 2679"/>
                      <a:gd name="T63" fmla="*/ 3046 h 3330"/>
                      <a:gd name="T64" fmla="*/ 1519 w 2679"/>
                      <a:gd name="T65" fmla="*/ 2851 h 3330"/>
                      <a:gd name="T66" fmla="*/ 1218 w 2679"/>
                      <a:gd name="T67" fmla="*/ 2470 h 3330"/>
                      <a:gd name="T68" fmla="*/ 1105 w 2679"/>
                      <a:gd name="T69" fmla="*/ 2309 h 3330"/>
                      <a:gd name="T70" fmla="*/ 899 w 2679"/>
                      <a:gd name="T71" fmla="*/ 2204 h 3330"/>
                      <a:gd name="T72" fmla="*/ 699 w 2679"/>
                      <a:gd name="T73" fmla="*/ 2185 h 3330"/>
                      <a:gd name="T74" fmla="*/ 459 w 2679"/>
                      <a:gd name="T75" fmla="*/ 1900 h 3330"/>
                      <a:gd name="T76" fmla="*/ 388 w 2679"/>
                      <a:gd name="T77" fmla="*/ 1698 h 3330"/>
                      <a:gd name="T78" fmla="*/ 323 w 2679"/>
                      <a:gd name="T79" fmla="*/ 1563 h 3330"/>
                      <a:gd name="T80" fmla="*/ 219 w 2679"/>
                      <a:gd name="T81" fmla="*/ 1400 h 3330"/>
                      <a:gd name="T82" fmla="*/ 208 w 2679"/>
                      <a:gd name="T83" fmla="*/ 1256 h 3330"/>
                      <a:gd name="T84" fmla="*/ 28 w 2679"/>
                      <a:gd name="T85" fmla="*/ 1115 h 3330"/>
                      <a:gd name="T86" fmla="*/ 128 w 2679"/>
                      <a:gd name="T87" fmla="*/ 943 h 3330"/>
                      <a:gd name="T88" fmla="*/ 196 w 2679"/>
                      <a:gd name="T89" fmla="*/ 763 h 3330"/>
                      <a:gd name="T90" fmla="*/ 364 w 2679"/>
                      <a:gd name="T91" fmla="*/ 598 h 3330"/>
                      <a:gd name="T92" fmla="*/ 503 w 2679"/>
                      <a:gd name="T93" fmla="*/ 555 h 3330"/>
                      <a:gd name="T94" fmla="*/ 638 w 2679"/>
                      <a:gd name="T95" fmla="*/ 476 h 3330"/>
                      <a:gd name="T96" fmla="*/ 888 w 2679"/>
                      <a:gd name="T97" fmla="*/ 491 h 3330"/>
                      <a:gd name="T98" fmla="*/ 1008 w 2679"/>
                      <a:gd name="T99" fmla="*/ 506 h 3330"/>
                      <a:gd name="T100" fmla="*/ 1260 w 2679"/>
                      <a:gd name="T101" fmla="*/ 225 h 3330"/>
                      <a:gd name="T102" fmla="*/ 1505 w 2679"/>
                      <a:gd name="T103" fmla="*/ 320 h 3330"/>
                      <a:gd name="T104" fmla="*/ 1528 w 2679"/>
                      <a:gd name="T105" fmla="*/ 211 h 3330"/>
                      <a:gd name="T106" fmla="*/ 1645 w 2679"/>
                      <a:gd name="T107" fmla="*/ 138 h 3330"/>
                      <a:gd name="T108" fmla="*/ 1633 w 2679"/>
                      <a:gd name="T109" fmla="*/ 54 h 3330"/>
                      <a:gd name="T110" fmla="*/ 1689 w 2679"/>
                      <a:gd name="T111" fmla="*/ 19 h 3330"/>
                      <a:gd name="T112" fmla="*/ 1846 w 2679"/>
                      <a:gd name="T113" fmla="*/ 90 h 33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679" h="3330">
                        <a:moveTo>
                          <a:pt x="1885" y="61"/>
                        </a:moveTo>
                        <a:lnTo>
                          <a:pt x="1908" y="119"/>
                        </a:lnTo>
                        <a:lnTo>
                          <a:pt x="1908" y="146"/>
                        </a:lnTo>
                        <a:lnTo>
                          <a:pt x="1895" y="176"/>
                        </a:lnTo>
                        <a:lnTo>
                          <a:pt x="1888" y="196"/>
                        </a:lnTo>
                        <a:lnTo>
                          <a:pt x="1888" y="209"/>
                        </a:lnTo>
                        <a:lnTo>
                          <a:pt x="1894" y="217"/>
                        </a:lnTo>
                        <a:lnTo>
                          <a:pt x="1904" y="221"/>
                        </a:lnTo>
                        <a:lnTo>
                          <a:pt x="1923" y="222"/>
                        </a:lnTo>
                        <a:lnTo>
                          <a:pt x="1943" y="217"/>
                        </a:lnTo>
                        <a:lnTo>
                          <a:pt x="1980" y="196"/>
                        </a:lnTo>
                        <a:lnTo>
                          <a:pt x="2000" y="194"/>
                        </a:lnTo>
                        <a:lnTo>
                          <a:pt x="2025" y="204"/>
                        </a:lnTo>
                        <a:lnTo>
                          <a:pt x="2055" y="211"/>
                        </a:lnTo>
                        <a:lnTo>
                          <a:pt x="2088" y="226"/>
                        </a:lnTo>
                        <a:lnTo>
                          <a:pt x="2176" y="313"/>
                        </a:lnTo>
                        <a:lnTo>
                          <a:pt x="2193" y="324"/>
                        </a:lnTo>
                        <a:lnTo>
                          <a:pt x="2226" y="328"/>
                        </a:lnTo>
                        <a:lnTo>
                          <a:pt x="2251" y="325"/>
                        </a:lnTo>
                        <a:lnTo>
                          <a:pt x="2276" y="319"/>
                        </a:lnTo>
                        <a:lnTo>
                          <a:pt x="2291" y="318"/>
                        </a:lnTo>
                        <a:lnTo>
                          <a:pt x="2310" y="319"/>
                        </a:lnTo>
                        <a:lnTo>
                          <a:pt x="2345" y="329"/>
                        </a:lnTo>
                        <a:lnTo>
                          <a:pt x="2365" y="339"/>
                        </a:lnTo>
                        <a:lnTo>
                          <a:pt x="2381" y="349"/>
                        </a:lnTo>
                        <a:lnTo>
                          <a:pt x="2429" y="403"/>
                        </a:lnTo>
                        <a:lnTo>
                          <a:pt x="2441" y="413"/>
                        </a:lnTo>
                        <a:lnTo>
                          <a:pt x="2453" y="419"/>
                        </a:lnTo>
                        <a:lnTo>
                          <a:pt x="2514" y="438"/>
                        </a:lnTo>
                        <a:lnTo>
                          <a:pt x="2525" y="445"/>
                        </a:lnTo>
                        <a:lnTo>
                          <a:pt x="2533" y="456"/>
                        </a:lnTo>
                        <a:lnTo>
                          <a:pt x="2539" y="480"/>
                        </a:lnTo>
                        <a:lnTo>
                          <a:pt x="2635" y="530"/>
                        </a:lnTo>
                        <a:lnTo>
                          <a:pt x="2651" y="546"/>
                        </a:lnTo>
                        <a:lnTo>
                          <a:pt x="2660" y="560"/>
                        </a:lnTo>
                        <a:lnTo>
                          <a:pt x="2656" y="570"/>
                        </a:lnTo>
                        <a:lnTo>
                          <a:pt x="2656" y="595"/>
                        </a:lnTo>
                        <a:lnTo>
                          <a:pt x="2659" y="610"/>
                        </a:lnTo>
                        <a:lnTo>
                          <a:pt x="2678" y="671"/>
                        </a:lnTo>
                        <a:lnTo>
                          <a:pt x="2679" y="685"/>
                        </a:lnTo>
                        <a:lnTo>
                          <a:pt x="2676" y="698"/>
                        </a:lnTo>
                        <a:lnTo>
                          <a:pt x="2654" y="708"/>
                        </a:lnTo>
                        <a:lnTo>
                          <a:pt x="2631" y="710"/>
                        </a:lnTo>
                        <a:lnTo>
                          <a:pt x="2623" y="724"/>
                        </a:lnTo>
                        <a:lnTo>
                          <a:pt x="2623" y="774"/>
                        </a:lnTo>
                        <a:lnTo>
                          <a:pt x="2619" y="793"/>
                        </a:lnTo>
                        <a:lnTo>
                          <a:pt x="2596" y="851"/>
                        </a:lnTo>
                        <a:lnTo>
                          <a:pt x="2598" y="870"/>
                        </a:lnTo>
                        <a:lnTo>
                          <a:pt x="2604" y="899"/>
                        </a:lnTo>
                        <a:lnTo>
                          <a:pt x="2603" y="913"/>
                        </a:lnTo>
                        <a:lnTo>
                          <a:pt x="2584" y="976"/>
                        </a:lnTo>
                        <a:lnTo>
                          <a:pt x="2581" y="991"/>
                        </a:lnTo>
                        <a:lnTo>
                          <a:pt x="2580" y="1008"/>
                        </a:lnTo>
                        <a:lnTo>
                          <a:pt x="2588" y="1019"/>
                        </a:lnTo>
                        <a:lnTo>
                          <a:pt x="2605" y="1026"/>
                        </a:lnTo>
                        <a:lnTo>
                          <a:pt x="2619" y="1034"/>
                        </a:lnTo>
                        <a:lnTo>
                          <a:pt x="2623" y="1044"/>
                        </a:lnTo>
                        <a:lnTo>
                          <a:pt x="2624" y="1053"/>
                        </a:lnTo>
                        <a:lnTo>
                          <a:pt x="2618" y="1065"/>
                        </a:lnTo>
                        <a:lnTo>
                          <a:pt x="2571" y="1116"/>
                        </a:lnTo>
                        <a:lnTo>
                          <a:pt x="2558" y="1130"/>
                        </a:lnTo>
                        <a:lnTo>
                          <a:pt x="2544" y="1138"/>
                        </a:lnTo>
                        <a:lnTo>
                          <a:pt x="2489" y="1150"/>
                        </a:lnTo>
                        <a:lnTo>
                          <a:pt x="2466" y="1160"/>
                        </a:lnTo>
                        <a:lnTo>
                          <a:pt x="2445" y="1174"/>
                        </a:lnTo>
                        <a:lnTo>
                          <a:pt x="2424" y="1195"/>
                        </a:lnTo>
                        <a:lnTo>
                          <a:pt x="2414" y="1208"/>
                        </a:lnTo>
                        <a:lnTo>
                          <a:pt x="2409" y="1221"/>
                        </a:lnTo>
                        <a:lnTo>
                          <a:pt x="2416" y="1234"/>
                        </a:lnTo>
                        <a:lnTo>
                          <a:pt x="2444" y="1259"/>
                        </a:lnTo>
                        <a:lnTo>
                          <a:pt x="2446" y="1269"/>
                        </a:lnTo>
                        <a:lnTo>
                          <a:pt x="2444" y="1278"/>
                        </a:lnTo>
                        <a:lnTo>
                          <a:pt x="2429" y="1286"/>
                        </a:lnTo>
                        <a:lnTo>
                          <a:pt x="2418" y="1295"/>
                        </a:lnTo>
                        <a:lnTo>
                          <a:pt x="2418" y="1299"/>
                        </a:lnTo>
                        <a:lnTo>
                          <a:pt x="2441" y="1314"/>
                        </a:lnTo>
                        <a:lnTo>
                          <a:pt x="2448" y="1329"/>
                        </a:lnTo>
                        <a:lnTo>
                          <a:pt x="2444" y="1336"/>
                        </a:lnTo>
                        <a:lnTo>
                          <a:pt x="2428" y="1353"/>
                        </a:lnTo>
                        <a:lnTo>
                          <a:pt x="2426" y="1363"/>
                        </a:lnTo>
                        <a:lnTo>
                          <a:pt x="2431" y="1385"/>
                        </a:lnTo>
                        <a:lnTo>
                          <a:pt x="2438" y="1395"/>
                        </a:lnTo>
                        <a:lnTo>
                          <a:pt x="2448" y="1401"/>
                        </a:lnTo>
                        <a:lnTo>
                          <a:pt x="2465" y="1409"/>
                        </a:lnTo>
                        <a:lnTo>
                          <a:pt x="2478" y="1418"/>
                        </a:lnTo>
                        <a:lnTo>
                          <a:pt x="2494" y="1436"/>
                        </a:lnTo>
                        <a:lnTo>
                          <a:pt x="2500" y="1451"/>
                        </a:lnTo>
                        <a:lnTo>
                          <a:pt x="2504" y="1466"/>
                        </a:lnTo>
                        <a:lnTo>
                          <a:pt x="2503" y="1538"/>
                        </a:lnTo>
                        <a:lnTo>
                          <a:pt x="2505" y="1566"/>
                        </a:lnTo>
                        <a:lnTo>
                          <a:pt x="2510" y="1584"/>
                        </a:lnTo>
                        <a:lnTo>
                          <a:pt x="2516" y="1596"/>
                        </a:lnTo>
                        <a:lnTo>
                          <a:pt x="2534" y="1619"/>
                        </a:lnTo>
                        <a:lnTo>
                          <a:pt x="2546" y="1638"/>
                        </a:lnTo>
                        <a:lnTo>
                          <a:pt x="2550" y="1658"/>
                        </a:lnTo>
                        <a:lnTo>
                          <a:pt x="2550" y="1674"/>
                        </a:lnTo>
                        <a:lnTo>
                          <a:pt x="2545" y="1701"/>
                        </a:lnTo>
                        <a:lnTo>
                          <a:pt x="2531" y="1744"/>
                        </a:lnTo>
                        <a:lnTo>
                          <a:pt x="2531" y="1770"/>
                        </a:lnTo>
                        <a:lnTo>
                          <a:pt x="2558" y="1829"/>
                        </a:lnTo>
                        <a:lnTo>
                          <a:pt x="2581" y="1920"/>
                        </a:lnTo>
                        <a:lnTo>
                          <a:pt x="2584" y="1945"/>
                        </a:lnTo>
                        <a:lnTo>
                          <a:pt x="2581" y="1959"/>
                        </a:lnTo>
                        <a:lnTo>
                          <a:pt x="2569" y="2013"/>
                        </a:lnTo>
                        <a:lnTo>
                          <a:pt x="2565" y="2056"/>
                        </a:lnTo>
                        <a:lnTo>
                          <a:pt x="2570" y="2091"/>
                        </a:lnTo>
                        <a:lnTo>
                          <a:pt x="2580" y="2141"/>
                        </a:lnTo>
                        <a:lnTo>
                          <a:pt x="2583" y="2165"/>
                        </a:lnTo>
                        <a:lnTo>
                          <a:pt x="2580" y="2184"/>
                        </a:lnTo>
                        <a:lnTo>
                          <a:pt x="2571" y="2201"/>
                        </a:lnTo>
                        <a:lnTo>
                          <a:pt x="2536" y="2261"/>
                        </a:lnTo>
                        <a:lnTo>
                          <a:pt x="2520" y="2298"/>
                        </a:lnTo>
                        <a:lnTo>
                          <a:pt x="2510" y="2334"/>
                        </a:lnTo>
                        <a:lnTo>
                          <a:pt x="2496" y="2365"/>
                        </a:lnTo>
                        <a:lnTo>
                          <a:pt x="2486" y="2373"/>
                        </a:lnTo>
                        <a:lnTo>
                          <a:pt x="2455" y="2393"/>
                        </a:lnTo>
                        <a:lnTo>
                          <a:pt x="2439" y="2410"/>
                        </a:lnTo>
                        <a:lnTo>
                          <a:pt x="2436" y="2430"/>
                        </a:lnTo>
                        <a:lnTo>
                          <a:pt x="2448" y="2458"/>
                        </a:lnTo>
                        <a:lnTo>
                          <a:pt x="2448" y="2474"/>
                        </a:lnTo>
                        <a:lnTo>
                          <a:pt x="2445" y="2484"/>
                        </a:lnTo>
                        <a:lnTo>
                          <a:pt x="2439" y="2495"/>
                        </a:lnTo>
                        <a:lnTo>
                          <a:pt x="2421" y="2521"/>
                        </a:lnTo>
                        <a:lnTo>
                          <a:pt x="2420" y="2533"/>
                        </a:lnTo>
                        <a:lnTo>
                          <a:pt x="2423" y="2543"/>
                        </a:lnTo>
                        <a:lnTo>
                          <a:pt x="2430" y="2553"/>
                        </a:lnTo>
                        <a:lnTo>
                          <a:pt x="2455" y="2579"/>
                        </a:lnTo>
                        <a:lnTo>
                          <a:pt x="2464" y="2599"/>
                        </a:lnTo>
                        <a:lnTo>
                          <a:pt x="2463" y="2610"/>
                        </a:lnTo>
                        <a:lnTo>
                          <a:pt x="2453" y="2619"/>
                        </a:lnTo>
                        <a:lnTo>
                          <a:pt x="2438" y="2624"/>
                        </a:lnTo>
                        <a:lnTo>
                          <a:pt x="2418" y="2636"/>
                        </a:lnTo>
                        <a:lnTo>
                          <a:pt x="2401" y="2653"/>
                        </a:lnTo>
                        <a:lnTo>
                          <a:pt x="2353" y="2745"/>
                        </a:lnTo>
                        <a:lnTo>
                          <a:pt x="2335" y="2770"/>
                        </a:lnTo>
                        <a:lnTo>
                          <a:pt x="2320" y="2776"/>
                        </a:lnTo>
                        <a:lnTo>
                          <a:pt x="2298" y="2773"/>
                        </a:lnTo>
                        <a:lnTo>
                          <a:pt x="2280" y="2780"/>
                        </a:lnTo>
                        <a:lnTo>
                          <a:pt x="2261" y="2803"/>
                        </a:lnTo>
                        <a:lnTo>
                          <a:pt x="2238" y="2864"/>
                        </a:lnTo>
                        <a:lnTo>
                          <a:pt x="2230" y="2905"/>
                        </a:lnTo>
                        <a:lnTo>
                          <a:pt x="2231" y="2935"/>
                        </a:lnTo>
                        <a:lnTo>
                          <a:pt x="2236" y="2965"/>
                        </a:lnTo>
                        <a:lnTo>
                          <a:pt x="2235" y="2990"/>
                        </a:lnTo>
                        <a:lnTo>
                          <a:pt x="2230" y="3006"/>
                        </a:lnTo>
                        <a:lnTo>
                          <a:pt x="2221" y="3021"/>
                        </a:lnTo>
                        <a:lnTo>
                          <a:pt x="2181" y="3061"/>
                        </a:lnTo>
                        <a:lnTo>
                          <a:pt x="2139" y="3128"/>
                        </a:lnTo>
                        <a:lnTo>
                          <a:pt x="2099" y="3214"/>
                        </a:lnTo>
                        <a:lnTo>
                          <a:pt x="2101" y="3240"/>
                        </a:lnTo>
                        <a:lnTo>
                          <a:pt x="2089" y="3238"/>
                        </a:lnTo>
                        <a:lnTo>
                          <a:pt x="2064" y="3250"/>
                        </a:lnTo>
                        <a:lnTo>
                          <a:pt x="2046" y="3280"/>
                        </a:lnTo>
                        <a:lnTo>
                          <a:pt x="2026" y="3330"/>
                        </a:lnTo>
                        <a:lnTo>
                          <a:pt x="1984" y="3309"/>
                        </a:lnTo>
                        <a:lnTo>
                          <a:pt x="1925" y="3266"/>
                        </a:lnTo>
                        <a:lnTo>
                          <a:pt x="1873" y="3218"/>
                        </a:lnTo>
                        <a:lnTo>
                          <a:pt x="1846" y="3174"/>
                        </a:lnTo>
                        <a:lnTo>
                          <a:pt x="1845" y="3095"/>
                        </a:lnTo>
                        <a:lnTo>
                          <a:pt x="1824" y="3046"/>
                        </a:lnTo>
                        <a:lnTo>
                          <a:pt x="1746" y="2966"/>
                        </a:lnTo>
                        <a:lnTo>
                          <a:pt x="1690" y="2890"/>
                        </a:lnTo>
                        <a:lnTo>
                          <a:pt x="1668" y="2871"/>
                        </a:lnTo>
                        <a:lnTo>
                          <a:pt x="1630" y="2856"/>
                        </a:lnTo>
                        <a:lnTo>
                          <a:pt x="1519" y="2851"/>
                        </a:lnTo>
                        <a:lnTo>
                          <a:pt x="1466" y="2821"/>
                        </a:lnTo>
                        <a:lnTo>
                          <a:pt x="1438" y="2774"/>
                        </a:lnTo>
                        <a:lnTo>
                          <a:pt x="1413" y="2718"/>
                        </a:lnTo>
                        <a:lnTo>
                          <a:pt x="1240" y="2483"/>
                        </a:lnTo>
                        <a:lnTo>
                          <a:pt x="1218" y="2470"/>
                        </a:lnTo>
                        <a:lnTo>
                          <a:pt x="1158" y="2399"/>
                        </a:lnTo>
                        <a:lnTo>
                          <a:pt x="1150" y="2373"/>
                        </a:lnTo>
                        <a:lnTo>
                          <a:pt x="1148" y="2345"/>
                        </a:lnTo>
                        <a:lnTo>
                          <a:pt x="1136" y="2323"/>
                        </a:lnTo>
                        <a:lnTo>
                          <a:pt x="1105" y="2309"/>
                        </a:lnTo>
                        <a:lnTo>
                          <a:pt x="1053" y="2254"/>
                        </a:lnTo>
                        <a:lnTo>
                          <a:pt x="1026" y="2231"/>
                        </a:lnTo>
                        <a:lnTo>
                          <a:pt x="995" y="2215"/>
                        </a:lnTo>
                        <a:lnTo>
                          <a:pt x="924" y="2195"/>
                        </a:lnTo>
                        <a:lnTo>
                          <a:pt x="899" y="2204"/>
                        </a:lnTo>
                        <a:lnTo>
                          <a:pt x="908" y="2240"/>
                        </a:lnTo>
                        <a:lnTo>
                          <a:pt x="873" y="2245"/>
                        </a:lnTo>
                        <a:lnTo>
                          <a:pt x="764" y="2229"/>
                        </a:lnTo>
                        <a:lnTo>
                          <a:pt x="728" y="2215"/>
                        </a:lnTo>
                        <a:lnTo>
                          <a:pt x="699" y="2185"/>
                        </a:lnTo>
                        <a:lnTo>
                          <a:pt x="638" y="2049"/>
                        </a:lnTo>
                        <a:lnTo>
                          <a:pt x="600" y="2011"/>
                        </a:lnTo>
                        <a:lnTo>
                          <a:pt x="515" y="1970"/>
                        </a:lnTo>
                        <a:lnTo>
                          <a:pt x="480" y="1940"/>
                        </a:lnTo>
                        <a:lnTo>
                          <a:pt x="459" y="1900"/>
                        </a:lnTo>
                        <a:lnTo>
                          <a:pt x="449" y="1854"/>
                        </a:lnTo>
                        <a:lnTo>
                          <a:pt x="441" y="1713"/>
                        </a:lnTo>
                        <a:lnTo>
                          <a:pt x="428" y="1701"/>
                        </a:lnTo>
                        <a:lnTo>
                          <a:pt x="409" y="1704"/>
                        </a:lnTo>
                        <a:lnTo>
                          <a:pt x="388" y="1698"/>
                        </a:lnTo>
                        <a:lnTo>
                          <a:pt x="368" y="1676"/>
                        </a:lnTo>
                        <a:lnTo>
                          <a:pt x="353" y="1655"/>
                        </a:lnTo>
                        <a:lnTo>
                          <a:pt x="341" y="1630"/>
                        </a:lnTo>
                        <a:lnTo>
                          <a:pt x="330" y="1596"/>
                        </a:lnTo>
                        <a:lnTo>
                          <a:pt x="323" y="1563"/>
                        </a:lnTo>
                        <a:lnTo>
                          <a:pt x="314" y="1499"/>
                        </a:lnTo>
                        <a:lnTo>
                          <a:pt x="300" y="1469"/>
                        </a:lnTo>
                        <a:lnTo>
                          <a:pt x="281" y="1448"/>
                        </a:lnTo>
                        <a:lnTo>
                          <a:pt x="238" y="1423"/>
                        </a:lnTo>
                        <a:lnTo>
                          <a:pt x="219" y="1400"/>
                        </a:lnTo>
                        <a:lnTo>
                          <a:pt x="229" y="1370"/>
                        </a:lnTo>
                        <a:lnTo>
                          <a:pt x="209" y="1359"/>
                        </a:lnTo>
                        <a:lnTo>
                          <a:pt x="225" y="1325"/>
                        </a:lnTo>
                        <a:lnTo>
                          <a:pt x="223" y="1286"/>
                        </a:lnTo>
                        <a:lnTo>
                          <a:pt x="208" y="1256"/>
                        </a:lnTo>
                        <a:lnTo>
                          <a:pt x="183" y="1243"/>
                        </a:lnTo>
                        <a:lnTo>
                          <a:pt x="121" y="1214"/>
                        </a:lnTo>
                        <a:lnTo>
                          <a:pt x="93" y="1194"/>
                        </a:lnTo>
                        <a:lnTo>
                          <a:pt x="66" y="1170"/>
                        </a:lnTo>
                        <a:lnTo>
                          <a:pt x="28" y="1115"/>
                        </a:lnTo>
                        <a:lnTo>
                          <a:pt x="9" y="1079"/>
                        </a:lnTo>
                        <a:lnTo>
                          <a:pt x="0" y="1049"/>
                        </a:lnTo>
                        <a:lnTo>
                          <a:pt x="21" y="1005"/>
                        </a:lnTo>
                        <a:lnTo>
                          <a:pt x="98" y="973"/>
                        </a:lnTo>
                        <a:lnTo>
                          <a:pt x="128" y="943"/>
                        </a:lnTo>
                        <a:lnTo>
                          <a:pt x="133" y="896"/>
                        </a:lnTo>
                        <a:lnTo>
                          <a:pt x="134" y="836"/>
                        </a:lnTo>
                        <a:lnTo>
                          <a:pt x="145" y="796"/>
                        </a:lnTo>
                        <a:lnTo>
                          <a:pt x="183" y="808"/>
                        </a:lnTo>
                        <a:lnTo>
                          <a:pt x="196" y="763"/>
                        </a:lnTo>
                        <a:lnTo>
                          <a:pt x="239" y="684"/>
                        </a:lnTo>
                        <a:lnTo>
                          <a:pt x="254" y="640"/>
                        </a:lnTo>
                        <a:lnTo>
                          <a:pt x="259" y="585"/>
                        </a:lnTo>
                        <a:lnTo>
                          <a:pt x="346" y="601"/>
                        </a:lnTo>
                        <a:lnTo>
                          <a:pt x="364" y="598"/>
                        </a:lnTo>
                        <a:lnTo>
                          <a:pt x="378" y="590"/>
                        </a:lnTo>
                        <a:lnTo>
                          <a:pt x="428" y="540"/>
                        </a:lnTo>
                        <a:lnTo>
                          <a:pt x="438" y="535"/>
                        </a:lnTo>
                        <a:lnTo>
                          <a:pt x="448" y="535"/>
                        </a:lnTo>
                        <a:lnTo>
                          <a:pt x="503" y="555"/>
                        </a:lnTo>
                        <a:lnTo>
                          <a:pt x="534" y="559"/>
                        </a:lnTo>
                        <a:lnTo>
                          <a:pt x="560" y="554"/>
                        </a:lnTo>
                        <a:lnTo>
                          <a:pt x="569" y="549"/>
                        </a:lnTo>
                        <a:lnTo>
                          <a:pt x="625" y="483"/>
                        </a:lnTo>
                        <a:lnTo>
                          <a:pt x="638" y="476"/>
                        </a:lnTo>
                        <a:lnTo>
                          <a:pt x="780" y="479"/>
                        </a:lnTo>
                        <a:lnTo>
                          <a:pt x="821" y="521"/>
                        </a:lnTo>
                        <a:lnTo>
                          <a:pt x="835" y="528"/>
                        </a:lnTo>
                        <a:lnTo>
                          <a:pt x="841" y="525"/>
                        </a:lnTo>
                        <a:lnTo>
                          <a:pt x="888" y="491"/>
                        </a:lnTo>
                        <a:lnTo>
                          <a:pt x="908" y="488"/>
                        </a:lnTo>
                        <a:lnTo>
                          <a:pt x="958" y="513"/>
                        </a:lnTo>
                        <a:lnTo>
                          <a:pt x="988" y="520"/>
                        </a:lnTo>
                        <a:lnTo>
                          <a:pt x="999" y="516"/>
                        </a:lnTo>
                        <a:lnTo>
                          <a:pt x="1008" y="506"/>
                        </a:lnTo>
                        <a:lnTo>
                          <a:pt x="1031" y="385"/>
                        </a:lnTo>
                        <a:lnTo>
                          <a:pt x="1039" y="370"/>
                        </a:lnTo>
                        <a:lnTo>
                          <a:pt x="1049" y="361"/>
                        </a:lnTo>
                        <a:lnTo>
                          <a:pt x="1220" y="269"/>
                        </a:lnTo>
                        <a:lnTo>
                          <a:pt x="1260" y="225"/>
                        </a:lnTo>
                        <a:lnTo>
                          <a:pt x="1279" y="213"/>
                        </a:lnTo>
                        <a:lnTo>
                          <a:pt x="1288" y="211"/>
                        </a:lnTo>
                        <a:lnTo>
                          <a:pt x="1415" y="236"/>
                        </a:lnTo>
                        <a:lnTo>
                          <a:pt x="1480" y="310"/>
                        </a:lnTo>
                        <a:lnTo>
                          <a:pt x="1505" y="320"/>
                        </a:lnTo>
                        <a:lnTo>
                          <a:pt x="1529" y="319"/>
                        </a:lnTo>
                        <a:lnTo>
                          <a:pt x="1539" y="315"/>
                        </a:lnTo>
                        <a:lnTo>
                          <a:pt x="1546" y="308"/>
                        </a:lnTo>
                        <a:lnTo>
                          <a:pt x="1549" y="296"/>
                        </a:lnTo>
                        <a:lnTo>
                          <a:pt x="1528" y="211"/>
                        </a:lnTo>
                        <a:lnTo>
                          <a:pt x="1526" y="195"/>
                        </a:lnTo>
                        <a:lnTo>
                          <a:pt x="1526" y="180"/>
                        </a:lnTo>
                        <a:lnTo>
                          <a:pt x="1530" y="169"/>
                        </a:lnTo>
                        <a:lnTo>
                          <a:pt x="1538" y="161"/>
                        </a:lnTo>
                        <a:lnTo>
                          <a:pt x="1645" y="138"/>
                        </a:lnTo>
                        <a:lnTo>
                          <a:pt x="1653" y="130"/>
                        </a:lnTo>
                        <a:lnTo>
                          <a:pt x="1651" y="119"/>
                        </a:lnTo>
                        <a:lnTo>
                          <a:pt x="1639" y="89"/>
                        </a:lnTo>
                        <a:lnTo>
                          <a:pt x="1634" y="71"/>
                        </a:lnTo>
                        <a:lnTo>
                          <a:pt x="1633" y="54"/>
                        </a:lnTo>
                        <a:lnTo>
                          <a:pt x="1634" y="36"/>
                        </a:lnTo>
                        <a:lnTo>
                          <a:pt x="1641" y="21"/>
                        </a:lnTo>
                        <a:lnTo>
                          <a:pt x="1653" y="9"/>
                        </a:lnTo>
                        <a:lnTo>
                          <a:pt x="1673" y="0"/>
                        </a:lnTo>
                        <a:lnTo>
                          <a:pt x="1689" y="19"/>
                        </a:lnTo>
                        <a:lnTo>
                          <a:pt x="1709" y="48"/>
                        </a:lnTo>
                        <a:lnTo>
                          <a:pt x="1721" y="60"/>
                        </a:lnTo>
                        <a:lnTo>
                          <a:pt x="1738" y="69"/>
                        </a:lnTo>
                        <a:lnTo>
                          <a:pt x="1821" y="89"/>
                        </a:lnTo>
                        <a:lnTo>
                          <a:pt x="1846" y="90"/>
                        </a:lnTo>
                        <a:lnTo>
                          <a:pt x="1885" y="61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5" name="Olomoucký" descr="{&quot;Key&quot;:&quot;olomoucký&quot;,&quot;Name&quot;:&quot;Olomouc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D91F7ACD-0E68-A7A8-99A8-86D22B631B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5" y="1850"/>
                    <a:ext cx="953" cy="1465"/>
                  </a:xfrm>
                  <a:custGeom>
                    <a:avLst/>
                    <a:gdLst>
                      <a:gd name="T0" fmla="*/ 1240 w 2182"/>
                      <a:gd name="T1" fmla="*/ 678 h 3357"/>
                      <a:gd name="T2" fmla="*/ 1166 w 2182"/>
                      <a:gd name="T3" fmla="*/ 692 h 3357"/>
                      <a:gd name="T4" fmla="*/ 943 w 2182"/>
                      <a:gd name="T5" fmla="*/ 849 h 3357"/>
                      <a:gd name="T6" fmla="*/ 896 w 2182"/>
                      <a:gd name="T7" fmla="*/ 974 h 3357"/>
                      <a:gd name="T8" fmla="*/ 892 w 2182"/>
                      <a:gd name="T9" fmla="*/ 1127 h 3357"/>
                      <a:gd name="T10" fmla="*/ 762 w 2182"/>
                      <a:gd name="T11" fmla="*/ 1337 h 3357"/>
                      <a:gd name="T12" fmla="*/ 825 w 2182"/>
                      <a:gd name="T13" fmla="*/ 1449 h 3357"/>
                      <a:gd name="T14" fmla="*/ 765 w 2182"/>
                      <a:gd name="T15" fmla="*/ 1576 h 3357"/>
                      <a:gd name="T16" fmla="*/ 795 w 2182"/>
                      <a:gd name="T17" fmla="*/ 1723 h 3357"/>
                      <a:gd name="T18" fmla="*/ 896 w 2182"/>
                      <a:gd name="T19" fmla="*/ 1785 h 3357"/>
                      <a:gd name="T20" fmla="*/ 1138 w 2182"/>
                      <a:gd name="T21" fmla="*/ 1843 h 3357"/>
                      <a:gd name="T22" fmla="*/ 1457 w 2182"/>
                      <a:gd name="T23" fmla="*/ 1988 h 3357"/>
                      <a:gd name="T24" fmla="*/ 1660 w 2182"/>
                      <a:gd name="T25" fmla="*/ 2010 h 3357"/>
                      <a:gd name="T26" fmla="*/ 1756 w 2182"/>
                      <a:gd name="T27" fmla="*/ 2193 h 3357"/>
                      <a:gd name="T28" fmla="*/ 1798 w 2182"/>
                      <a:gd name="T29" fmla="*/ 2239 h 3357"/>
                      <a:gd name="T30" fmla="*/ 1920 w 2182"/>
                      <a:gd name="T31" fmla="*/ 2345 h 3357"/>
                      <a:gd name="T32" fmla="*/ 2066 w 2182"/>
                      <a:gd name="T33" fmla="*/ 2469 h 3357"/>
                      <a:gd name="T34" fmla="*/ 2182 w 2182"/>
                      <a:gd name="T35" fmla="*/ 2600 h 3357"/>
                      <a:gd name="T36" fmla="*/ 2076 w 2182"/>
                      <a:gd name="T37" fmla="*/ 2654 h 3357"/>
                      <a:gd name="T38" fmla="*/ 2030 w 2182"/>
                      <a:gd name="T39" fmla="*/ 2655 h 3357"/>
                      <a:gd name="T40" fmla="*/ 1960 w 2182"/>
                      <a:gd name="T41" fmla="*/ 2749 h 3357"/>
                      <a:gd name="T42" fmla="*/ 1748 w 2182"/>
                      <a:gd name="T43" fmla="*/ 2824 h 3357"/>
                      <a:gd name="T44" fmla="*/ 1667 w 2182"/>
                      <a:gd name="T45" fmla="*/ 2849 h 3357"/>
                      <a:gd name="T46" fmla="*/ 1682 w 2182"/>
                      <a:gd name="T47" fmla="*/ 2932 h 3357"/>
                      <a:gd name="T48" fmla="*/ 1498 w 2182"/>
                      <a:gd name="T49" fmla="*/ 2955 h 3357"/>
                      <a:gd name="T50" fmla="*/ 1398 w 2182"/>
                      <a:gd name="T51" fmla="*/ 3050 h 3357"/>
                      <a:gd name="T52" fmla="*/ 1262 w 2182"/>
                      <a:gd name="T53" fmla="*/ 3022 h 3357"/>
                      <a:gd name="T54" fmla="*/ 1095 w 2182"/>
                      <a:gd name="T55" fmla="*/ 2990 h 3357"/>
                      <a:gd name="T56" fmla="*/ 1101 w 2182"/>
                      <a:gd name="T57" fmla="*/ 3149 h 3357"/>
                      <a:gd name="T58" fmla="*/ 871 w 2182"/>
                      <a:gd name="T59" fmla="*/ 3249 h 3357"/>
                      <a:gd name="T60" fmla="*/ 831 w 2182"/>
                      <a:gd name="T61" fmla="*/ 3344 h 3357"/>
                      <a:gd name="T62" fmla="*/ 783 w 2182"/>
                      <a:gd name="T63" fmla="*/ 3324 h 3357"/>
                      <a:gd name="T64" fmla="*/ 727 w 2182"/>
                      <a:gd name="T65" fmla="*/ 3165 h 3357"/>
                      <a:gd name="T66" fmla="*/ 575 w 2182"/>
                      <a:gd name="T67" fmla="*/ 3062 h 3357"/>
                      <a:gd name="T68" fmla="*/ 468 w 2182"/>
                      <a:gd name="T69" fmla="*/ 2870 h 3357"/>
                      <a:gd name="T70" fmla="*/ 398 w 2182"/>
                      <a:gd name="T71" fmla="*/ 2699 h 3357"/>
                      <a:gd name="T72" fmla="*/ 273 w 2182"/>
                      <a:gd name="T73" fmla="*/ 2699 h 3357"/>
                      <a:gd name="T74" fmla="*/ 326 w 2182"/>
                      <a:gd name="T75" fmla="*/ 2863 h 3357"/>
                      <a:gd name="T76" fmla="*/ 270 w 2182"/>
                      <a:gd name="T77" fmla="*/ 2982 h 3357"/>
                      <a:gd name="T78" fmla="*/ 111 w 2182"/>
                      <a:gd name="T79" fmla="*/ 2909 h 3357"/>
                      <a:gd name="T80" fmla="*/ 145 w 2182"/>
                      <a:gd name="T81" fmla="*/ 2843 h 3357"/>
                      <a:gd name="T82" fmla="*/ 95 w 2182"/>
                      <a:gd name="T83" fmla="*/ 2660 h 3357"/>
                      <a:gd name="T84" fmla="*/ 118 w 2182"/>
                      <a:gd name="T85" fmla="*/ 2600 h 3357"/>
                      <a:gd name="T86" fmla="*/ 11 w 2182"/>
                      <a:gd name="T87" fmla="*/ 2432 h 3357"/>
                      <a:gd name="T88" fmla="*/ 113 w 2182"/>
                      <a:gd name="T89" fmla="*/ 2405 h 3357"/>
                      <a:gd name="T90" fmla="*/ 160 w 2182"/>
                      <a:gd name="T91" fmla="*/ 2232 h 3357"/>
                      <a:gd name="T92" fmla="*/ 145 w 2182"/>
                      <a:gd name="T93" fmla="*/ 2027 h 3357"/>
                      <a:gd name="T94" fmla="*/ 17 w 2182"/>
                      <a:gd name="T95" fmla="*/ 1740 h 3357"/>
                      <a:gd name="T96" fmla="*/ 45 w 2182"/>
                      <a:gd name="T97" fmla="*/ 1484 h 3357"/>
                      <a:gd name="T98" fmla="*/ 1 w 2182"/>
                      <a:gd name="T99" fmla="*/ 1298 h 3357"/>
                      <a:gd name="T100" fmla="*/ 150 w 2182"/>
                      <a:gd name="T101" fmla="*/ 1159 h 3357"/>
                      <a:gd name="T102" fmla="*/ 153 w 2182"/>
                      <a:gd name="T103" fmla="*/ 1039 h 3357"/>
                      <a:gd name="T104" fmla="*/ 338 w 2182"/>
                      <a:gd name="T105" fmla="*/ 640 h 3357"/>
                      <a:gd name="T106" fmla="*/ 432 w 2182"/>
                      <a:gd name="T107" fmla="*/ 625 h 3357"/>
                      <a:gd name="T108" fmla="*/ 483 w 2182"/>
                      <a:gd name="T109" fmla="*/ 608 h 3357"/>
                      <a:gd name="T110" fmla="*/ 510 w 2182"/>
                      <a:gd name="T111" fmla="*/ 552 h 3357"/>
                      <a:gd name="T112" fmla="*/ 373 w 2182"/>
                      <a:gd name="T113" fmla="*/ 330 h 3357"/>
                      <a:gd name="T114" fmla="*/ 262 w 2182"/>
                      <a:gd name="T115" fmla="*/ 32 h 3357"/>
                      <a:gd name="T116" fmla="*/ 666 w 2182"/>
                      <a:gd name="T117" fmla="*/ 103 h 3357"/>
                      <a:gd name="T118" fmla="*/ 835 w 2182"/>
                      <a:gd name="T119" fmla="*/ 152 h 3357"/>
                      <a:gd name="T120" fmla="*/ 881 w 2182"/>
                      <a:gd name="T121" fmla="*/ 260 h 3357"/>
                      <a:gd name="T122" fmla="*/ 1132 w 2182"/>
                      <a:gd name="T123" fmla="*/ 348 h 3357"/>
                      <a:gd name="T124" fmla="*/ 1127 w 2182"/>
                      <a:gd name="T125" fmla="*/ 473 h 33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2182" h="3357">
                        <a:moveTo>
                          <a:pt x="1226" y="464"/>
                        </a:moveTo>
                        <a:lnTo>
                          <a:pt x="1255" y="635"/>
                        </a:lnTo>
                        <a:lnTo>
                          <a:pt x="1252" y="649"/>
                        </a:lnTo>
                        <a:lnTo>
                          <a:pt x="1247" y="664"/>
                        </a:lnTo>
                        <a:lnTo>
                          <a:pt x="1240" y="678"/>
                        </a:lnTo>
                        <a:lnTo>
                          <a:pt x="1230" y="692"/>
                        </a:lnTo>
                        <a:lnTo>
                          <a:pt x="1217" y="703"/>
                        </a:lnTo>
                        <a:lnTo>
                          <a:pt x="1205" y="708"/>
                        </a:lnTo>
                        <a:lnTo>
                          <a:pt x="1192" y="708"/>
                        </a:lnTo>
                        <a:lnTo>
                          <a:pt x="1166" y="692"/>
                        </a:lnTo>
                        <a:lnTo>
                          <a:pt x="1155" y="690"/>
                        </a:lnTo>
                        <a:lnTo>
                          <a:pt x="1145" y="694"/>
                        </a:lnTo>
                        <a:lnTo>
                          <a:pt x="1135" y="703"/>
                        </a:lnTo>
                        <a:lnTo>
                          <a:pt x="1092" y="765"/>
                        </a:lnTo>
                        <a:lnTo>
                          <a:pt x="943" y="849"/>
                        </a:lnTo>
                        <a:lnTo>
                          <a:pt x="918" y="878"/>
                        </a:lnTo>
                        <a:lnTo>
                          <a:pt x="910" y="895"/>
                        </a:lnTo>
                        <a:lnTo>
                          <a:pt x="903" y="915"/>
                        </a:lnTo>
                        <a:lnTo>
                          <a:pt x="900" y="959"/>
                        </a:lnTo>
                        <a:lnTo>
                          <a:pt x="896" y="974"/>
                        </a:lnTo>
                        <a:lnTo>
                          <a:pt x="877" y="1004"/>
                        </a:lnTo>
                        <a:lnTo>
                          <a:pt x="872" y="1015"/>
                        </a:lnTo>
                        <a:lnTo>
                          <a:pt x="871" y="1028"/>
                        </a:lnTo>
                        <a:lnTo>
                          <a:pt x="892" y="1113"/>
                        </a:lnTo>
                        <a:lnTo>
                          <a:pt x="892" y="1127"/>
                        </a:lnTo>
                        <a:lnTo>
                          <a:pt x="891" y="1139"/>
                        </a:lnTo>
                        <a:lnTo>
                          <a:pt x="885" y="1152"/>
                        </a:lnTo>
                        <a:lnTo>
                          <a:pt x="775" y="1307"/>
                        </a:lnTo>
                        <a:lnTo>
                          <a:pt x="767" y="1320"/>
                        </a:lnTo>
                        <a:lnTo>
                          <a:pt x="762" y="1337"/>
                        </a:lnTo>
                        <a:lnTo>
                          <a:pt x="761" y="1353"/>
                        </a:lnTo>
                        <a:lnTo>
                          <a:pt x="762" y="1369"/>
                        </a:lnTo>
                        <a:lnTo>
                          <a:pt x="766" y="1384"/>
                        </a:lnTo>
                        <a:lnTo>
                          <a:pt x="773" y="1399"/>
                        </a:lnTo>
                        <a:lnTo>
                          <a:pt x="825" y="1449"/>
                        </a:lnTo>
                        <a:lnTo>
                          <a:pt x="830" y="1467"/>
                        </a:lnTo>
                        <a:lnTo>
                          <a:pt x="826" y="1475"/>
                        </a:lnTo>
                        <a:lnTo>
                          <a:pt x="773" y="1546"/>
                        </a:lnTo>
                        <a:lnTo>
                          <a:pt x="768" y="1559"/>
                        </a:lnTo>
                        <a:lnTo>
                          <a:pt x="765" y="1576"/>
                        </a:lnTo>
                        <a:lnTo>
                          <a:pt x="756" y="1681"/>
                        </a:lnTo>
                        <a:lnTo>
                          <a:pt x="757" y="1693"/>
                        </a:lnTo>
                        <a:lnTo>
                          <a:pt x="762" y="1703"/>
                        </a:lnTo>
                        <a:lnTo>
                          <a:pt x="770" y="1713"/>
                        </a:lnTo>
                        <a:lnTo>
                          <a:pt x="795" y="1723"/>
                        </a:lnTo>
                        <a:lnTo>
                          <a:pt x="873" y="1734"/>
                        </a:lnTo>
                        <a:lnTo>
                          <a:pt x="882" y="1739"/>
                        </a:lnTo>
                        <a:lnTo>
                          <a:pt x="886" y="1747"/>
                        </a:lnTo>
                        <a:lnTo>
                          <a:pt x="891" y="1777"/>
                        </a:lnTo>
                        <a:lnTo>
                          <a:pt x="896" y="1785"/>
                        </a:lnTo>
                        <a:lnTo>
                          <a:pt x="903" y="1793"/>
                        </a:lnTo>
                        <a:lnTo>
                          <a:pt x="1061" y="1873"/>
                        </a:lnTo>
                        <a:lnTo>
                          <a:pt x="1073" y="1874"/>
                        </a:lnTo>
                        <a:lnTo>
                          <a:pt x="1126" y="1846"/>
                        </a:lnTo>
                        <a:lnTo>
                          <a:pt x="1138" y="1843"/>
                        </a:lnTo>
                        <a:lnTo>
                          <a:pt x="1152" y="1848"/>
                        </a:lnTo>
                        <a:lnTo>
                          <a:pt x="1293" y="2002"/>
                        </a:lnTo>
                        <a:lnTo>
                          <a:pt x="1321" y="2016"/>
                        </a:lnTo>
                        <a:lnTo>
                          <a:pt x="1415" y="2021"/>
                        </a:lnTo>
                        <a:lnTo>
                          <a:pt x="1457" y="1988"/>
                        </a:lnTo>
                        <a:lnTo>
                          <a:pt x="1467" y="1983"/>
                        </a:lnTo>
                        <a:lnTo>
                          <a:pt x="1477" y="1983"/>
                        </a:lnTo>
                        <a:lnTo>
                          <a:pt x="1545" y="2029"/>
                        </a:lnTo>
                        <a:lnTo>
                          <a:pt x="1592" y="2033"/>
                        </a:lnTo>
                        <a:lnTo>
                          <a:pt x="1660" y="2010"/>
                        </a:lnTo>
                        <a:lnTo>
                          <a:pt x="1712" y="2037"/>
                        </a:lnTo>
                        <a:lnTo>
                          <a:pt x="1755" y="2073"/>
                        </a:lnTo>
                        <a:lnTo>
                          <a:pt x="1763" y="2085"/>
                        </a:lnTo>
                        <a:lnTo>
                          <a:pt x="1766" y="2098"/>
                        </a:lnTo>
                        <a:lnTo>
                          <a:pt x="1756" y="2193"/>
                        </a:lnTo>
                        <a:lnTo>
                          <a:pt x="1757" y="2212"/>
                        </a:lnTo>
                        <a:lnTo>
                          <a:pt x="1763" y="2227"/>
                        </a:lnTo>
                        <a:lnTo>
                          <a:pt x="1773" y="2238"/>
                        </a:lnTo>
                        <a:lnTo>
                          <a:pt x="1786" y="2242"/>
                        </a:lnTo>
                        <a:lnTo>
                          <a:pt x="1798" y="2239"/>
                        </a:lnTo>
                        <a:lnTo>
                          <a:pt x="1832" y="2217"/>
                        </a:lnTo>
                        <a:lnTo>
                          <a:pt x="1842" y="2213"/>
                        </a:lnTo>
                        <a:lnTo>
                          <a:pt x="1853" y="2215"/>
                        </a:lnTo>
                        <a:lnTo>
                          <a:pt x="1863" y="2227"/>
                        </a:lnTo>
                        <a:lnTo>
                          <a:pt x="1920" y="2345"/>
                        </a:lnTo>
                        <a:lnTo>
                          <a:pt x="1932" y="2358"/>
                        </a:lnTo>
                        <a:lnTo>
                          <a:pt x="1990" y="2385"/>
                        </a:lnTo>
                        <a:lnTo>
                          <a:pt x="2040" y="2428"/>
                        </a:lnTo>
                        <a:lnTo>
                          <a:pt x="2060" y="2454"/>
                        </a:lnTo>
                        <a:lnTo>
                          <a:pt x="2066" y="2469"/>
                        </a:lnTo>
                        <a:lnTo>
                          <a:pt x="2075" y="2500"/>
                        </a:lnTo>
                        <a:lnTo>
                          <a:pt x="2078" y="2537"/>
                        </a:lnTo>
                        <a:lnTo>
                          <a:pt x="2131" y="2550"/>
                        </a:lnTo>
                        <a:lnTo>
                          <a:pt x="2153" y="2568"/>
                        </a:lnTo>
                        <a:lnTo>
                          <a:pt x="2182" y="2600"/>
                        </a:lnTo>
                        <a:lnTo>
                          <a:pt x="2153" y="2675"/>
                        </a:lnTo>
                        <a:lnTo>
                          <a:pt x="2127" y="2682"/>
                        </a:lnTo>
                        <a:lnTo>
                          <a:pt x="2105" y="2679"/>
                        </a:lnTo>
                        <a:lnTo>
                          <a:pt x="2093" y="2674"/>
                        </a:lnTo>
                        <a:lnTo>
                          <a:pt x="2076" y="2654"/>
                        </a:lnTo>
                        <a:lnTo>
                          <a:pt x="2067" y="2647"/>
                        </a:lnTo>
                        <a:lnTo>
                          <a:pt x="2057" y="2643"/>
                        </a:lnTo>
                        <a:lnTo>
                          <a:pt x="2047" y="2643"/>
                        </a:lnTo>
                        <a:lnTo>
                          <a:pt x="2038" y="2647"/>
                        </a:lnTo>
                        <a:lnTo>
                          <a:pt x="2030" y="2655"/>
                        </a:lnTo>
                        <a:lnTo>
                          <a:pt x="2022" y="2668"/>
                        </a:lnTo>
                        <a:lnTo>
                          <a:pt x="2010" y="2703"/>
                        </a:lnTo>
                        <a:lnTo>
                          <a:pt x="1996" y="2720"/>
                        </a:lnTo>
                        <a:lnTo>
                          <a:pt x="1972" y="2734"/>
                        </a:lnTo>
                        <a:lnTo>
                          <a:pt x="1960" y="2749"/>
                        </a:lnTo>
                        <a:lnTo>
                          <a:pt x="1955" y="2777"/>
                        </a:lnTo>
                        <a:lnTo>
                          <a:pt x="1955" y="2804"/>
                        </a:lnTo>
                        <a:lnTo>
                          <a:pt x="1960" y="2835"/>
                        </a:lnTo>
                        <a:lnTo>
                          <a:pt x="1911" y="2857"/>
                        </a:lnTo>
                        <a:lnTo>
                          <a:pt x="1748" y="2824"/>
                        </a:lnTo>
                        <a:lnTo>
                          <a:pt x="1721" y="2823"/>
                        </a:lnTo>
                        <a:lnTo>
                          <a:pt x="1700" y="2825"/>
                        </a:lnTo>
                        <a:lnTo>
                          <a:pt x="1677" y="2834"/>
                        </a:lnTo>
                        <a:lnTo>
                          <a:pt x="1670" y="2840"/>
                        </a:lnTo>
                        <a:lnTo>
                          <a:pt x="1667" y="2849"/>
                        </a:lnTo>
                        <a:lnTo>
                          <a:pt x="1670" y="2860"/>
                        </a:lnTo>
                        <a:lnTo>
                          <a:pt x="1682" y="2889"/>
                        </a:lnTo>
                        <a:lnTo>
                          <a:pt x="1686" y="2907"/>
                        </a:lnTo>
                        <a:lnTo>
                          <a:pt x="1686" y="2919"/>
                        </a:lnTo>
                        <a:lnTo>
                          <a:pt x="1682" y="2932"/>
                        </a:lnTo>
                        <a:lnTo>
                          <a:pt x="1668" y="2948"/>
                        </a:lnTo>
                        <a:lnTo>
                          <a:pt x="1657" y="2953"/>
                        </a:lnTo>
                        <a:lnTo>
                          <a:pt x="1643" y="2954"/>
                        </a:lnTo>
                        <a:lnTo>
                          <a:pt x="1512" y="2952"/>
                        </a:lnTo>
                        <a:lnTo>
                          <a:pt x="1498" y="2955"/>
                        </a:lnTo>
                        <a:lnTo>
                          <a:pt x="1466" y="2969"/>
                        </a:lnTo>
                        <a:lnTo>
                          <a:pt x="1442" y="2983"/>
                        </a:lnTo>
                        <a:lnTo>
                          <a:pt x="1425" y="3000"/>
                        </a:lnTo>
                        <a:lnTo>
                          <a:pt x="1408" y="3034"/>
                        </a:lnTo>
                        <a:lnTo>
                          <a:pt x="1398" y="3050"/>
                        </a:lnTo>
                        <a:lnTo>
                          <a:pt x="1387" y="3060"/>
                        </a:lnTo>
                        <a:lnTo>
                          <a:pt x="1376" y="3064"/>
                        </a:lnTo>
                        <a:lnTo>
                          <a:pt x="1357" y="3060"/>
                        </a:lnTo>
                        <a:lnTo>
                          <a:pt x="1278" y="3024"/>
                        </a:lnTo>
                        <a:lnTo>
                          <a:pt x="1262" y="3022"/>
                        </a:lnTo>
                        <a:lnTo>
                          <a:pt x="1223" y="3000"/>
                        </a:lnTo>
                        <a:lnTo>
                          <a:pt x="1177" y="2962"/>
                        </a:lnTo>
                        <a:lnTo>
                          <a:pt x="1148" y="2950"/>
                        </a:lnTo>
                        <a:lnTo>
                          <a:pt x="1103" y="2944"/>
                        </a:lnTo>
                        <a:lnTo>
                          <a:pt x="1095" y="2990"/>
                        </a:lnTo>
                        <a:lnTo>
                          <a:pt x="1092" y="3039"/>
                        </a:lnTo>
                        <a:lnTo>
                          <a:pt x="1107" y="3087"/>
                        </a:lnTo>
                        <a:lnTo>
                          <a:pt x="1123" y="3107"/>
                        </a:lnTo>
                        <a:lnTo>
                          <a:pt x="1107" y="3142"/>
                        </a:lnTo>
                        <a:lnTo>
                          <a:pt x="1101" y="3149"/>
                        </a:lnTo>
                        <a:lnTo>
                          <a:pt x="1037" y="3210"/>
                        </a:lnTo>
                        <a:lnTo>
                          <a:pt x="1012" y="3243"/>
                        </a:lnTo>
                        <a:lnTo>
                          <a:pt x="1005" y="3248"/>
                        </a:lnTo>
                        <a:lnTo>
                          <a:pt x="991" y="3247"/>
                        </a:lnTo>
                        <a:lnTo>
                          <a:pt x="871" y="3249"/>
                        </a:lnTo>
                        <a:lnTo>
                          <a:pt x="857" y="3253"/>
                        </a:lnTo>
                        <a:lnTo>
                          <a:pt x="850" y="3263"/>
                        </a:lnTo>
                        <a:lnTo>
                          <a:pt x="845" y="3278"/>
                        </a:lnTo>
                        <a:lnTo>
                          <a:pt x="836" y="3330"/>
                        </a:lnTo>
                        <a:lnTo>
                          <a:pt x="831" y="3344"/>
                        </a:lnTo>
                        <a:lnTo>
                          <a:pt x="823" y="3353"/>
                        </a:lnTo>
                        <a:lnTo>
                          <a:pt x="815" y="3357"/>
                        </a:lnTo>
                        <a:lnTo>
                          <a:pt x="806" y="3354"/>
                        </a:lnTo>
                        <a:lnTo>
                          <a:pt x="793" y="3343"/>
                        </a:lnTo>
                        <a:lnTo>
                          <a:pt x="783" y="3324"/>
                        </a:lnTo>
                        <a:lnTo>
                          <a:pt x="787" y="3305"/>
                        </a:lnTo>
                        <a:lnTo>
                          <a:pt x="787" y="3289"/>
                        </a:lnTo>
                        <a:lnTo>
                          <a:pt x="785" y="3269"/>
                        </a:lnTo>
                        <a:lnTo>
                          <a:pt x="762" y="3218"/>
                        </a:lnTo>
                        <a:lnTo>
                          <a:pt x="727" y="3165"/>
                        </a:lnTo>
                        <a:lnTo>
                          <a:pt x="690" y="3129"/>
                        </a:lnTo>
                        <a:lnTo>
                          <a:pt x="621" y="3108"/>
                        </a:lnTo>
                        <a:lnTo>
                          <a:pt x="591" y="3090"/>
                        </a:lnTo>
                        <a:lnTo>
                          <a:pt x="580" y="3077"/>
                        </a:lnTo>
                        <a:lnTo>
                          <a:pt x="575" y="3062"/>
                        </a:lnTo>
                        <a:lnTo>
                          <a:pt x="577" y="3007"/>
                        </a:lnTo>
                        <a:lnTo>
                          <a:pt x="575" y="2992"/>
                        </a:lnTo>
                        <a:lnTo>
                          <a:pt x="563" y="2969"/>
                        </a:lnTo>
                        <a:lnTo>
                          <a:pt x="478" y="2885"/>
                        </a:lnTo>
                        <a:lnTo>
                          <a:pt x="468" y="2870"/>
                        </a:lnTo>
                        <a:lnTo>
                          <a:pt x="462" y="2855"/>
                        </a:lnTo>
                        <a:lnTo>
                          <a:pt x="451" y="2789"/>
                        </a:lnTo>
                        <a:lnTo>
                          <a:pt x="433" y="2747"/>
                        </a:lnTo>
                        <a:lnTo>
                          <a:pt x="411" y="2711"/>
                        </a:lnTo>
                        <a:lnTo>
                          <a:pt x="398" y="2699"/>
                        </a:lnTo>
                        <a:lnTo>
                          <a:pt x="326" y="2669"/>
                        </a:lnTo>
                        <a:lnTo>
                          <a:pt x="308" y="2668"/>
                        </a:lnTo>
                        <a:lnTo>
                          <a:pt x="292" y="2672"/>
                        </a:lnTo>
                        <a:lnTo>
                          <a:pt x="281" y="2682"/>
                        </a:lnTo>
                        <a:lnTo>
                          <a:pt x="273" y="2699"/>
                        </a:lnTo>
                        <a:lnTo>
                          <a:pt x="271" y="2733"/>
                        </a:lnTo>
                        <a:lnTo>
                          <a:pt x="275" y="2756"/>
                        </a:lnTo>
                        <a:lnTo>
                          <a:pt x="308" y="2812"/>
                        </a:lnTo>
                        <a:lnTo>
                          <a:pt x="321" y="2846"/>
                        </a:lnTo>
                        <a:lnTo>
                          <a:pt x="326" y="2863"/>
                        </a:lnTo>
                        <a:lnTo>
                          <a:pt x="327" y="2882"/>
                        </a:lnTo>
                        <a:lnTo>
                          <a:pt x="326" y="2899"/>
                        </a:lnTo>
                        <a:lnTo>
                          <a:pt x="321" y="2914"/>
                        </a:lnTo>
                        <a:lnTo>
                          <a:pt x="298" y="2948"/>
                        </a:lnTo>
                        <a:lnTo>
                          <a:pt x="270" y="2982"/>
                        </a:lnTo>
                        <a:lnTo>
                          <a:pt x="253" y="2994"/>
                        </a:lnTo>
                        <a:lnTo>
                          <a:pt x="236" y="3002"/>
                        </a:lnTo>
                        <a:lnTo>
                          <a:pt x="221" y="3002"/>
                        </a:lnTo>
                        <a:lnTo>
                          <a:pt x="121" y="2924"/>
                        </a:lnTo>
                        <a:lnTo>
                          <a:pt x="111" y="2909"/>
                        </a:lnTo>
                        <a:lnTo>
                          <a:pt x="110" y="2895"/>
                        </a:lnTo>
                        <a:lnTo>
                          <a:pt x="118" y="2883"/>
                        </a:lnTo>
                        <a:lnTo>
                          <a:pt x="130" y="2870"/>
                        </a:lnTo>
                        <a:lnTo>
                          <a:pt x="138" y="2858"/>
                        </a:lnTo>
                        <a:lnTo>
                          <a:pt x="145" y="2843"/>
                        </a:lnTo>
                        <a:lnTo>
                          <a:pt x="147" y="2829"/>
                        </a:lnTo>
                        <a:lnTo>
                          <a:pt x="147" y="2814"/>
                        </a:lnTo>
                        <a:lnTo>
                          <a:pt x="145" y="2798"/>
                        </a:lnTo>
                        <a:lnTo>
                          <a:pt x="100" y="2680"/>
                        </a:lnTo>
                        <a:lnTo>
                          <a:pt x="95" y="2660"/>
                        </a:lnTo>
                        <a:lnTo>
                          <a:pt x="93" y="2645"/>
                        </a:lnTo>
                        <a:lnTo>
                          <a:pt x="97" y="2633"/>
                        </a:lnTo>
                        <a:lnTo>
                          <a:pt x="118" y="2623"/>
                        </a:lnTo>
                        <a:lnTo>
                          <a:pt x="123" y="2617"/>
                        </a:lnTo>
                        <a:lnTo>
                          <a:pt x="118" y="2600"/>
                        </a:lnTo>
                        <a:lnTo>
                          <a:pt x="40" y="2522"/>
                        </a:lnTo>
                        <a:lnTo>
                          <a:pt x="15" y="2479"/>
                        </a:lnTo>
                        <a:lnTo>
                          <a:pt x="8" y="2459"/>
                        </a:lnTo>
                        <a:lnTo>
                          <a:pt x="6" y="2443"/>
                        </a:lnTo>
                        <a:lnTo>
                          <a:pt x="11" y="2432"/>
                        </a:lnTo>
                        <a:lnTo>
                          <a:pt x="25" y="2427"/>
                        </a:lnTo>
                        <a:lnTo>
                          <a:pt x="83" y="2442"/>
                        </a:lnTo>
                        <a:lnTo>
                          <a:pt x="95" y="2438"/>
                        </a:lnTo>
                        <a:lnTo>
                          <a:pt x="105" y="2427"/>
                        </a:lnTo>
                        <a:lnTo>
                          <a:pt x="113" y="2405"/>
                        </a:lnTo>
                        <a:lnTo>
                          <a:pt x="121" y="2372"/>
                        </a:lnTo>
                        <a:lnTo>
                          <a:pt x="138" y="2352"/>
                        </a:lnTo>
                        <a:lnTo>
                          <a:pt x="150" y="2309"/>
                        </a:lnTo>
                        <a:lnTo>
                          <a:pt x="155" y="2252"/>
                        </a:lnTo>
                        <a:lnTo>
                          <a:pt x="160" y="2232"/>
                        </a:lnTo>
                        <a:lnTo>
                          <a:pt x="216" y="2172"/>
                        </a:lnTo>
                        <a:lnTo>
                          <a:pt x="202" y="2075"/>
                        </a:lnTo>
                        <a:lnTo>
                          <a:pt x="185" y="2048"/>
                        </a:lnTo>
                        <a:lnTo>
                          <a:pt x="155" y="2037"/>
                        </a:lnTo>
                        <a:lnTo>
                          <a:pt x="145" y="2027"/>
                        </a:lnTo>
                        <a:lnTo>
                          <a:pt x="138" y="2010"/>
                        </a:lnTo>
                        <a:lnTo>
                          <a:pt x="133" y="1962"/>
                        </a:lnTo>
                        <a:lnTo>
                          <a:pt x="57" y="1807"/>
                        </a:lnTo>
                        <a:lnTo>
                          <a:pt x="27" y="1762"/>
                        </a:lnTo>
                        <a:lnTo>
                          <a:pt x="17" y="1740"/>
                        </a:lnTo>
                        <a:lnTo>
                          <a:pt x="13" y="1717"/>
                        </a:lnTo>
                        <a:lnTo>
                          <a:pt x="16" y="1694"/>
                        </a:lnTo>
                        <a:lnTo>
                          <a:pt x="46" y="1630"/>
                        </a:lnTo>
                        <a:lnTo>
                          <a:pt x="43" y="1562"/>
                        </a:lnTo>
                        <a:lnTo>
                          <a:pt x="45" y="1484"/>
                        </a:lnTo>
                        <a:lnTo>
                          <a:pt x="43" y="1467"/>
                        </a:lnTo>
                        <a:lnTo>
                          <a:pt x="30" y="1412"/>
                        </a:lnTo>
                        <a:lnTo>
                          <a:pt x="22" y="1348"/>
                        </a:lnTo>
                        <a:lnTo>
                          <a:pt x="13" y="1321"/>
                        </a:lnTo>
                        <a:lnTo>
                          <a:pt x="1" y="1298"/>
                        </a:lnTo>
                        <a:lnTo>
                          <a:pt x="0" y="1284"/>
                        </a:lnTo>
                        <a:lnTo>
                          <a:pt x="6" y="1269"/>
                        </a:lnTo>
                        <a:lnTo>
                          <a:pt x="55" y="1241"/>
                        </a:lnTo>
                        <a:lnTo>
                          <a:pt x="93" y="1201"/>
                        </a:lnTo>
                        <a:lnTo>
                          <a:pt x="150" y="1159"/>
                        </a:lnTo>
                        <a:lnTo>
                          <a:pt x="158" y="1152"/>
                        </a:lnTo>
                        <a:lnTo>
                          <a:pt x="166" y="1129"/>
                        </a:lnTo>
                        <a:lnTo>
                          <a:pt x="162" y="1100"/>
                        </a:lnTo>
                        <a:lnTo>
                          <a:pt x="151" y="1069"/>
                        </a:lnTo>
                        <a:lnTo>
                          <a:pt x="153" y="1039"/>
                        </a:lnTo>
                        <a:lnTo>
                          <a:pt x="200" y="883"/>
                        </a:lnTo>
                        <a:lnTo>
                          <a:pt x="270" y="704"/>
                        </a:lnTo>
                        <a:lnTo>
                          <a:pt x="290" y="699"/>
                        </a:lnTo>
                        <a:lnTo>
                          <a:pt x="307" y="683"/>
                        </a:lnTo>
                        <a:lnTo>
                          <a:pt x="338" y="640"/>
                        </a:lnTo>
                        <a:lnTo>
                          <a:pt x="360" y="625"/>
                        </a:lnTo>
                        <a:lnTo>
                          <a:pt x="376" y="624"/>
                        </a:lnTo>
                        <a:lnTo>
                          <a:pt x="411" y="637"/>
                        </a:lnTo>
                        <a:lnTo>
                          <a:pt x="427" y="635"/>
                        </a:lnTo>
                        <a:lnTo>
                          <a:pt x="432" y="625"/>
                        </a:lnTo>
                        <a:lnTo>
                          <a:pt x="431" y="590"/>
                        </a:lnTo>
                        <a:lnTo>
                          <a:pt x="436" y="582"/>
                        </a:lnTo>
                        <a:lnTo>
                          <a:pt x="463" y="583"/>
                        </a:lnTo>
                        <a:lnTo>
                          <a:pt x="475" y="590"/>
                        </a:lnTo>
                        <a:lnTo>
                          <a:pt x="483" y="608"/>
                        </a:lnTo>
                        <a:lnTo>
                          <a:pt x="502" y="637"/>
                        </a:lnTo>
                        <a:lnTo>
                          <a:pt x="525" y="645"/>
                        </a:lnTo>
                        <a:lnTo>
                          <a:pt x="537" y="620"/>
                        </a:lnTo>
                        <a:lnTo>
                          <a:pt x="533" y="583"/>
                        </a:lnTo>
                        <a:lnTo>
                          <a:pt x="510" y="552"/>
                        </a:lnTo>
                        <a:lnTo>
                          <a:pt x="506" y="480"/>
                        </a:lnTo>
                        <a:lnTo>
                          <a:pt x="487" y="429"/>
                        </a:lnTo>
                        <a:lnTo>
                          <a:pt x="453" y="392"/>
                        </a:lnTo>
                        <a:lnTo>
                          <a:pt x="408" y="365"/>
                        </a:lnTo>
                        <a:lnTo>
                          <a:pt x="373" y="330"/>
                        </a:lnTo>
                        <a:lnTo>
                          <a:pt x="356" y="274"/>
                        </a:lnTo>
                        <a:lnTo>
                          <a:pt x="342" y="213"/>
                        </a:lnTo>
                        <a:lnTo>
                          <a:pt x="321" y="159"/>
                        </a:lnTo>
                        <a:lnTo>
                          <a:pt x="262" y="72"/>
                        </a:lnTo>
                        <a:lnTo>
                          <a:pt x="262" y="32"/>
                        </a:lnTo>
                        <a:lnTo>
                          <a:pt x="312" y="0"/>
                        </a:lnTo>
                        <a:lnTo>
                          <a:pt x="355" y="7"/>
                        </a:lnTo>
                        <a:lnTo>
                          <a:pt x="433" y="54"/>
                        </a:lnTo>
                        <a:lnTo>
                          <a:pt x="476" y="49"/>
                        </a:lnTo>
                        <a:lnTo>
                          <a:pt x="666" y="103"/>
                        </a:lnTo>
                        <a:lnTo>
                          <a:pt x="686" y="114"/>
                        </a:lnTo>
                        <a:lnTo>
                          <a:pt x="728" y="150"/>
                        </a:lnTo>
                        <a:lnTo>
                          <a:pt x="752" y="163"/>
                        </a:lnTo>
                        <a:lnTo>
                          <a:pt x="778" y="164"/>
                        </a:lnTo>
                        <a:lnTo>
                          <a:pt x="835" y="152"/>
                        </a:lnTo>
                        <a:lnTo>
                          <a:pt x="856" y="159"/>
                        </a:lnTo>
                        <a:lnTo>
                          <a:pt x="852" y="167"/>
                        </a:lnTo>
                        <a:lnTo>
                          <a:pt x="858" y="198"/>
                        </a:lnTo>
                        <a:lnTo>
                          <a:pt x="870" y="235"/>
                        </a:lnTo>
                        <a:lnTo>
                          <a:pt x="881" y="260"/>
                        </a:lnTo>
                        <a:lnTo>
                          <a:pt x="898" y="280"/>
                        </a:lnTo>
                        <a:lnTo>
                          <a:pt x="963" y="322"/>
                        </a:lnTo>
                        <a:lnTo>
                          <a:pt x="1007" y="334"/>
                        </a:lnTo>
                        <a:lnTo>
                          <a:pt x="1093" y="332"/>
                        </a:lnTo>
                        <a:lnTo>
                          <a:pt x="1132" y="348"/>
                        </a:lnTo>
                        <a:lnTo>
                          <a:pt x="1098" y="362"/>
                        </a:lnTo>
                        <a:lnTo>
                          <a:pt x="1110" y="383"/>
                        </a:lnTo>
                        <a:lnTo>
                          <a:pt x="1126" y="398"/>
                        </a:lnTo>
                        <a:lnTo>
                          <a:pt x="1123" y="435"/>
                        </a:lnTo>
                        <a:lnTo>
                          <a:pt x="1127" y="473"/>
                        </a:lnTo>
                        <a:lnTo>
                          <a:pt x="1140" y="502"/>
                        </a:lnTo>
                        <a:lnTo>
                          <a:pt x="1165" y="520"/>
                        </a:lnTo>
                        <a:lnTo>
                          <a:pt x="1185" y="468"/>
                        </a:lnTo>
                        <a:lnTo>
                          <a:pt x="1226" y="464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6" name="Pardubický" descr="{&quot;Key&quot;:&quot;pardubický&quot;,&quot;Name&quot;:&quot;Pardubic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7C504D63-AB3A-5E21-1BF8-5E2C3947D1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01" y="2157"/>
                    <a:ext cx="1232" cy="743"/>
                  </a:xfrm>
                  <a:custGeom>
                    <a:avLst/>
                    <a:gdLst>
                      <a:gd name="T0" fmla="*/ 2518 w 2823"/>
                      <a:gd name="T1" fmla="*/ 1609 h 1702"/>
                      <a:gd name="T2" fmla="*/ 2370 w 2823"/>
                      <a:gd name="T3" fmla="*/ 1597 h 1702"/>
                      <a:gd name="T4" fmla="*/ 2231 w 2823"/>
                      <a:gd name="T5" fmla="*/ 1613 h 1702"/>
                      <a:gd name="T6" fmla="*/ 2204 w 2823"/>
                      <a:gd name="T7" fmla="*/ 1680 h 1702"/>
                      <a:gd name="T8" fmla="*/ 1829 w 2823"/>
                      <a:gd name="T9" fmla="*/ 1638 h 1702"/>
                      <a:gd name="T10" fmla="*/ 1720 w 2823"/>
                      <a:gd name="T11" fmla="*/ 1559 h 1702"/>
                      <a:gd name="T12" fmla="*/ 1555 w 2823"/>
                      <a:gd name="T13" fmla="*/ 1445 h 1702"/>
                      <a:gd name="T14" fmla="*/ 1410 w 2823"/>
                      <a:gd name="T15" fmla="*/ 1430 h 1702"/>
                      <a:gd name="T16" fmla="*/ 1351 w 2823"/>
                      <a:gd name="T17" fmla="*/ 1369 h 1702"/>
                      <a:gd name="T18" fmla="*/ 1231 w 2823"/>
                      <a:gd name="T19" fmla="*/ 1320 h 1702"/>
                      <a:gd name="T20" fmla="*/ 1186 w 2823"/>
                      <a:gd name="T21" fmla="*/ 1352 h 1702"/>
                      <a:gd name="T22" fmla="*/ 1141 w 2823"/>
                      <a:gd name="T23" fmla="*/ 1383 h 1702"/>
                      <a:gd name="T24" fmla="*/ 1057 w 2823"/>
                      <a:gd name="T25" fmla="*/ 1420 h 1702"/>
                      <a:gd name="T26" fmla="*/ 956 w 2823"/>
                      <a:gd name="T27" fmla="*/ 1405 h 1702"/>
                      <a:gd name="T28" fmla="*/ 825 w 2823"/>
                      <a:gd name="T29" fmla="*/ 1264 h 1702"/>
                      <a:gd name="T30" fmla="*/ 803 w 2823"/>
                      <a:gd name="T31" fmla="*/ 1205 h 1702"/>
                      <a:gd name="T32" fmla="*/ 634 w 2823"/>
                      <a:gd name="T33" fmla="*/ 1100 h 1702"/>
                      <a:gd name="T34" fmla="*/ 430 w 2823"/>
                      <a:gd name="T35" fmla="*/ 1075 h 1702"/>
                      <a:gd name="T36" fmla="*/ 270 w 2823"/>
                      <a:gd name="T37" fmla="*/ 880 h 1702"/>
                      <a:gd name="T38" fmla="*/ 294 w 2823"/>
                      <a:gd name="T39" fmla="*/ 733 h 1702"/>
                      <a:gd name="T40" fmla="*/ 286 w 2823"/>
                      <a:gd name="T41" fmla="*/ 653 h 1702"/>
                      <a:gd name="T42" fmla="*/ 221 w 2823"/>
                      <a:gd name="T43" fmla="*/ 618 h 1702"/>
                      <a:gd name="T44" fmla="*/ 35 w 2823"/>
                      <a:gd name="T45" fmla="*/ 495 h 1702"/>
                      <a:gd name="T46" fmla="*/ 43 w 2823"/>
                      <a:gd name="T47" fmla="*/ 418 h 1702"/>
                      <a:gd name="T48" fmla="*/ 101 w 2823"/>
                      <a:gd name="T49" fmla="*/ 359 h 1702"/>
                      <a:gd name="T50" fmla="*/ 129 w 2823"/>
                      <a:gd name="T51" fmla="*/ 249 h 1702"/>
                      <a:gd name="T52" fmla="*/ 393 w 2823"/>
                      <a:gd name="T53" fmla="*/ 163 h 1702"/>
                      <a:gd name="T54" fmla="*/ 576 w 2823"/>
                      <a:gd name="T55" fmla="*/ 180 h 1702"/>
                      <a:gd name="T56" fmla="*/ 686 w 2823"/>
                      <a:gd name="T57" fmla="*/ 234 h 1702"/>
                      <a:gd name="T58" fmla="*/ 740 w 2823"/>
                      <a:gd name="T59" fmla="*/ 112 h 1702"/>
                      <a:gd name="T60" fmla="*/ 866 w 2823"/>
                      <a:gd name="T61" fmla="*/ 173 h 1702"/>
                      <a:gd name="T62" fmla="*/ 911 w 2823"/>
                      <a:gd name="T63" fmla="*/ 218 h 1702"/>
                      <a:gd name="T64" fmla="*/ 1175 w 2823"/>
                      <a:gd name="T65" fmla="*/ 108 h 1702"/>
                      <a:gd name="T66" fmla="*/ 1193 w 2823"/>
                      <a:gd name="T67" fmla="*/ 200 h 1702"/>
                      <a:gd name="T68" fmla="*/ 1326 w 2823"/>
                      <a:gd name="T69" fmla="*/ 265 h 1702"/>
                      <a:gd name="T70" fmla="*/ 1391 w 2823"/>
                      <a:gd name="T71" fmla="*/ 350 h 1702"/>
                      <a:gd name="T72" fmla="*/ 1464 w 2823"/>
                      <a:gd name="T73" fmla="*/ 409 h 1702"/>
                      <a:gd name="T74" fmla="*/ 1593 w 2823"/>
                      <a:gd name="T75" fmla="*/ 462 h 1702"/>
                      <a:gd name="T76" fmla="*/ 1823 w 2823"/>
                      <a:gd name="T77" fmla="*/ 410 h 1702"/>
                      <a:gd name="T78" fmla="*/ 1855 w 2823"/>
                      <a:gd name="T79" fmla="*/ 333 h 1702"/>
                      <a:gd name="T80" fmla="*/ 2071 w 2823"/>
                      <a:gd name="T81" fmla="*/ 202 h 1702"/>
                      <a:gd name="T82" fmla="*/ 2090 w 2823"/>
                      <a:gd name="T83" fmla="*/ 122 h 1702"/>
                      <a:gd name="T84" fmla="*/ 2436 w 2823"/>
                      <a:gd name="T85" fmla="*/ 279 h 1702"/>
                      <a:gd name="T86" fmla="*/ 2631 w 2823"/>
                      <a:gd name="T87" fmla="*/ 134 h 1702"/>
                      <a:gd name="T88" fmla="*/ 2763 w 2823"/>
                      <a:gd name="T89" fmla="*/ 3 h 1702"/>
                      <a:gd name="T90" fmla="*/ 2706 w 2823"/>
                      <a:gd name="T91" fmla="*/ 335 h 1702"/>
                      <a:gd name="T92" fmla="*/ 2711 w 2823"/>
                      <a:gd name="T93" fmla="*/ 448 h 1702"/>
                      <a:gd name="T94" fmla="*/ 2559 w 2823"/>
                      <a:gd name="T95" fmla="*/ 565 h 1702"/>
                      <a:gd name="T96" fmla="*/ 2575 w 2823"/>
                      <a:gd name="T97" fmla="*/ 644 h 1702"/>
                      <a:gd name="T98" fmla="*/ 2596 w 2823"/>
                      <a:gd name="T99" fmla="*/ 858 h 1702"/>
                      <a:gd name="T100" fmla="*/ 2570 w 2823"/>
                      <a:gd name="T101" fmla="*/ 1037 h 1702"/>
                      <a:gd name="T102" fmla="*/ 2691 w 2823"/>
                      <a:gd name="T103" fmla="*/ 1307 h 1702"/>
                      <a:gd name="T104" fmla="*/ 2755 w 2823"/>
                      <a:gd name="T105" fmla="*/ 1372 h 1702"/>
                      <a:gd name="T106" fmla="*/ 2702 w 2823"/>
                      <a:gd name="T107" fmla="*/ 1605 h 17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2823" h="1702">
                        <a:moveTo>
                          <a:pt x="2674" y="1668"/>
                        </a:moveTo>
                        <a:lnTo>
                          <a:pt x="2654" y="1672"/>
                        </a:lnTo>
                        <a:lnTo>
                          <a:pt x="2561" y="1625"/>
                        </a:lnTo>
                        <a:lnTo>
                          <a:pt x="2518" y="1609"/>
                        </a:lnTo>
                        <a:lnTo>
                          <a:pt x="2471" y="1605"/>
                        </a:lnTo>
                        <a:lnTo>
                          <a:pt x="2410" y="1610"/>
                        </a:lnTo>
                        <a:lnTo>
                          <a:pt x="2393" y="1608"/>
                        </a:lnTo>
                        <a:lnTo>
                          <a:pt x="2370" y="1597"/>
                        </a:lnTo>
                        <a:lnTo>
                          <a:pt x="2355" y="1593"/>
                        </a:lnTo>
                        <a:lnTo>
                          <a:pt x="2258" y="1593"/>
                        </a:lnTo>
                        <a:lnTo>
                          <a:pt x="2241" y="1600"/>
                        </a:lnTo>
                        <a:lnTo>
                          <a:pt x="2231" y="1613"/>
                        </a:lnTo>
                        <a:lnTo>
                          <a:pt x="2229" y="1637"/>
                        </a:lnTo>
                        <a:lnTo>
                          <a:pt x="2226" y="1655"/>
                        </a:lnTo>
                        <a:lnTo>
                          <a:pt x="2220" y="1667"/>
                        </a:lnTo>
                        <a:lnTo>
                          <a:pt x="2204" y="1680"/>
                        </a:lnTo>
                        <a:lnTo>
                          <a:pt x="1985" y="1702"/>
                        </a:lnTo>
                        <a:lnTo>
                          <a:pt x="1940" y="1698"/>
                        </a:lnTo>
                        <a:lnTo>
                          <a:pt x="1905" y="1687"/>
                        </a:lnTo>
                        <a:lnTo>
                          <a:pt x="1829" y="1638"/>
                        </a:lnTo>
                        <a:lnTo>
                          <a:pt x="1764" y="1614"/>
                        </a:lnTo>
                        <a:lnTo>
                          <a:pt x="1744" y="1599"/>
                        </a:lnTo>
                        <a:lnTo>
                          <a:pt x="1731" y="1580"/>
                        </a:lnTo>
                        <a:lnTo>
                          <a:pt x="1720" y="1559"/>
                        </a:lnTo>
                        <a:lnTo>
                          <a:pt x="1703" y="1539"/>
                        </a:lnTo>
                        <a:lnTo>
                          <a:pt x="1679" y="1519"/>
                        </a:lnTo>
                        <a:lnTo>
                          <a:pt x="1610" y="1473"/>
                        </a:lnTo>
                        <a:lnTo>
                          <a:pt x="1555" y="1445"/>
                        </a:lnTo>
                        <a:lnTo>
                          <a:pt x="1518" y="1434"/>
                        </a:lnTo>
                        <a:lnTo>
                          <a:pt x="1470" y="1432"/>
                        </a:lnTo>
                        <a:lnTo>
                          <a:pt x="1430" y="1435"/>
                        </a:lnTo>
                        <a:lnTo>
                          <a:pt x="1410" y="1430"/>
                        </a:lnTo>
                        <a:lnTo>
                          <a:pt x="1396" y="1422"/>
                        </a:lnTo>
                        <a:lnTo>
                          <a:pt x="1385" y="1394"/>
                        </a:lnTo>
                        <a:lnTo>
                          <a:pt x="1373" y="1380"/>
                        </a:lnTo>
                        <a:lnTo>
                          <a:pt x="1351" y="1369"/>
                        </a:lnTo>
                        <a:lnTo>
                          <a:pt x="1309" y="1360"/>
                        </a:lnTo>
                        <a:lnTo>
                          <a:pt x="1281" y="1350"/>
                        </a:lnTo>
                        <a:lnTo>
                          <a:pt x="1256" y="1338"/>
                        </a:lnTo>
                        <a:lnTo>
                          <a:pt x="1231" y="1320"/>
                        </a:lnTo>
                        <a:lnTo>
                          <a:pt x="1219" y="1315"/>
                        </a:lnTo>
                        <a:lnTo>
                          <a:pt x="1208" y="1314"/>
                        </a:lnTo>
                        <a:lnTo>
                          <a:pt x="1195" y="1329"/>
                        </a:lnTo>
                        <a:lnTo>
                          <a:pt x="1186" y="1352"/>
                        </a:lnTo>
                        <a:lnTo>
                          <a:pt x="1180" y="1363"/>
                        </a:lnTo>
                        <a:lnTo>
                          <a:pt x="1171" y="1370"/>
                        </a:lnTo>
                        <a:lnTo>
                          <a:pt x="1150" y="1378"/>
                        </a:lnTo>
                        <a:lnTo>
                          <a:pt x="1141" y="1383"/>
                        </a:lnTo>
                        <a:lnTo>
                          <a:pt x="1114" y="1414"/>
                        </a:lnTo>
                        <a:lnTo>
                          <a:pt x="1095" y="1427"/>
                        </a:lnTo>
                        <a:lnTo>
                          <a:pt x="1077" y="1427"/>
                        </a:lnTo>
                        <a:lnTo>
                          <a:pt x="1057" y="1420"/>
                        </a:lnTo>
                        <a:lnTo>
                          <a:pt x="1032" y="1409"/>
                        </a:lnTo>
                        <a:lnTo>
                          <a:pt x="1016" y="1412"/>
                        </a:lnTo>
                        <a:lnTo>
                          <a:pt x="1004" y="1418"/>
                        </a:lnTo>
                        <a:lnTo>
                          <a:pt x="956" y="1405"/>
                        </a:lnTo>
                        <a:lnTo>
                          <a:pt x="928" y="1347"/>
                        </a:lnTo>
                        <a:lnTo>
                          <a:pt x="903" y="1312"/>
                        </a:lnTo>
                        <a:lnTo>
                          <a:pt x="873" y="1288"/>
                        </a:lnTo>
                        <a:lnTo>
                          <a:pt x="825" y="1264"/>
                        </a:lnTo>
                        <a:lnTo>
                          <a:pt x="818" y="1258"/>
                        </a:lnTo>
                        <a:lnTo>
                          <a:pt x="813" y="1248"/>
                        </a:lnTo>
                        <a:lnTo>
                          <a:pt x="809" y="1219"/>
                        </a:lnTo>
                        <a:lnTo>
                          <a:pt x="803" y="1205"/>
                        </a:lnTo>
                        <a:lnTo>
                          <a:pt x="793" y="1195"/>
                        </a:lnTo>
                        <a:lnTo>
                          <a:pt x="766" y="1179"/>
                        </a:lnTo>
                        <a:lnTo>
                          <a:pt x="718" y="1167"/>
                        </a:lnTo>
                        <a:lnTo>
                          <a:pt x="634" y="1100"/>
                        </a:lnTo>
                        <a:lnTo>
                          <a:pt x="601" y="1092"/>
                        </a:lnTo>
                        <a:lnTo>
                          <a:pt x="460" y="1103"/>
                        </a:lnTo>
                        <a:lnTo>
                          <a:pt x="450" y="1098"/>
                        </a:lnTo>
                        <a:lnTo>
                          <a:pt x="430" y="1075"/>
                        </a:lnTo>
                        <a:lnTo>
                          <a:pt x="383" y="998"/>
                        </a:lnTo>
                        <a:lnTo>
                          <a:pt x="348" y="957"/>
                        </a:lnTo>
                        <a:lnTo>
                          <a:pt x="268" y="903"/>
                        </a:lnTo>
                        <a:lnTo>
                          <a:pt x="270" y="880"/>
                        </a:lnTo>
                        <a:lnTo>
                          <a:pt x="278" y="850"/>
                        </a:lnTo>
                        <a:lnTo>
                          <a:pt x="286" y="823"/>
                        </a:lnTo>
                        <a:lnTo>
                          <a:pt x="293" y="790"/>
                        </a:lnTo>
                        <a:lnTo>
                          <a:pt x="294" y="733"/>
                        </a:lnTo>
                        <a:lnTo>
                          <a:pt x="295" y="722"/>
                        </a:lnTo>
                        <a:lnTo>
                          <a:pt x="306" y="688"/>
                        </a:lnTo>
                        <a:lnTo>
                          <a:pt x="304" y="674"/>
                        </a:lnTo>
                        <a:lnTo>
                          <a:pt x="286" y="653"/>
                        </a:lnTo>
                        <a:lnTo>
                          <a:pt x="273" y="642"/>
                        </a:lnTo>
                        <a:lnTo>
                          <a:pt x="260" y="635"/>
                        </a:lnTo>
                        <a:lnTo>
                          <a:pt x="235" y="629"/>
                        </a:lnTo>
                        <a:lnTo>
                          <a:pt x="221" y="618"/>
                        </a:lnTo>
                        <a:lnTo>
                          <a:pt x="154" y="553"/>
                        </a:lnTo>
                        <a:lnTo>
                          <a:pt x="140" y="544"/>
                        </a:lnTo>
                        <a:lnTo>
                          <a:pt x="78" y="524"/>
                        </a:lnTo>
                        <a:lnTo>
                          <a:pt x="35" y="495"/>
                        </a:lnTo>
                        <a:lnTo>
                          <a:pt x="21" y="482"/>
                        </a:lnTo>
                        <a:lnTo>
                          <a:pt x="0" y="448"/>
                        </a:lnTo>
                        <a:lnTo>
                          <a:pt x="9" y="434"/>
                        </a:lnTo>
                        <a:lnTo>
                          <a:pt x="43" y="418"/>
                        </a:lnTo>
                        <a:lnTo>
                          <a:pt x="80" y="408"/>
                        </a:lnTo>
                        <a:lnTo>
                          <a:pt x="98" y="409"/>
                        </a:lnTo>
                        <a:lnTo>
                          <a:pt x="101" y="369"/>
                        </a:lnTo>
                        <a:lnTo>
                          <a:pt x="101" y="359"/>
                        </a:lnTo>
                        <a:lnTo>
                          <a:pt x="91" y="312"/>
                        </a:lnTo>
                        <a:lnTo>
                          <a:pt x="91" y="297"/>
                        </a:lnTo>
                        <a:lnTo>
                          <a:pt x="99" y="279"/>
                        </a:lnTo>
                        <a:lnTo>
                          <a:pt x="129" y="249"/>
                        </a:lnTo>
                        <a:lnTo>
                          <a:pt x="230" y="288"/>
                        </a:lnTo>
                        <a:lnTo>
                          <a:pt x="245" y="287"/>
                        </a:lnTo>
                        <a:lnTo>
                          <a:pt x="356" y="180"/>
                        </a:lnTo>
                        <a:lnTo>
                          <a:pt x="393" y="163"/>
                        </a:lnTo>
                        <a:lnTo>
                          <a:pt x="420" y="160"/>
                        </a:lnTo>
                        <a:lnTo>
                          <a:pt x="493" y="197"/>
                        </a:lnTo>
                        <a:lnTo>
                          <a:pt x="520" y="197"/>
                        </a:lnTo>
                        <a:lnTo>
                          <a:pt x="576" y="180"/>
                        </a:lnTo>
                        <a:lnTo>
                          <a:pt x="586" y="183"/>
                        </a:lnTo>
                        <a:lnTo>
                          <a:pt x="661" y="234"/>
                        </a:lnTo>
                        <a:lnTo>
                          <a:pt x="675" y="238"/>
                        </a:lnTo>
                        <a:lnTo>
                          <a:pt x="686" y="234"/>
                        </a:lnTo>
                        <a:lnTo>
                          <a:pt x="696" y="223"/>
                        </a:lnTo>
                        <a:lnTo>
                          <a:pt x="720" y="144"/>
                        </a:lnTo>
                        <a:lnTo>
                          <a:pt x="729" y="127"/>
                        </a:lnTo>
                        <a:lnTo>
                          <a:pt x="740" y="112"/>
                        </a:lnTo>
                        <a:lnTo>
                          <a:pt x="833" y="85"/>
                        </a:lnTo>
                        <a:lnTo>
                          <a:pt x="841" y="89"/>
                        </a:lnTo>
                        <a:lnTo>
                          <a:pt x="849" y="99"/>
                        </a:lnTo>
                        <a:lnTo>
                          <a:pt x="866" y="173"/>
                        </a:lnTo>
                        <a:lnTo>
                          <a:pt x="879" y="203"/>
                        </a:lnTo>
                        <a:lnTo>
                          <a:pt x="894" y="220"/>
                        </a:lnTo>
                        <a:lnTo>
                          <a:pt x="901" y="223"/>
                        </a:lnTo>
                        <a:lnTo>
                          <a:pt x="911" y="218"/>
                        </a:lnTo>
                        <a:lnTo>
                          <a:pt x="1029" y="102"/>
                        </a:lnTo>
                        <a:lnTo>
                          <a:pt x="1046" y="94"/>
                        </a:lnTo>
                        <a:lnTo>
                          <a:pt x="1124" y="92"/>
                        </a:lnTo>
                        <a:lnTo>
                          <a:pt x="1175" y="108"/>
                        </a:lnTo>
                        <a:lnTo>
                          <a:pt x="1185" y="115"/>
                        </a:lnTo>
                        <a:lnTo>
                          <a:pt x="1190" y="127"/>
                        </a:lnTo>
                        <a:lnTo>
                          <a:pt x="1193" y="142"/>
                        </a:lnTo>
                        <a:lnTo>
                          <a:pt x="1193" y="200"/>
                        </a:lnTo>
                        <a:lnTo>
                          <a:pt x="1196" y="218"/>
                        </a:lnTo>
                        <a:lnTo>
                          <a:pt x="1205" y="234"/>
                        </a:lnTo>
                        <a:lnTo>
                          <a:pt x="1220" y="244"/>
                        </a:lnTo>
                        <a:lnTo>
                          <a:pt x="1326" y="265"/>
                        </a:lnTo>
                        <a:lnTo>
                          <a:pt x="1336" y="274"/>
                        </a:lnTo>
                        <a:lnTo>
                          <a:pt x="1350" y="303"/>
                        </a:lnTo>
                        <a:lnTo>
                          <a:pt x="1369" y="330"/>
                        </a:lnTo>
                        <a:lnTo>
                          <a:pt x="1391" y="350"/>
                        </a:lnTo>
                        <a:lnTo>
                          <a:pt x="1411" y="362"/>
                        </a:lnTo>
                        <a:lnTo>
                          <a:pt x="1428" y="365"/>
                        </a:lnTo>
                        <a:lnTo>
                          <a:pt x="1435" y="372"/>
                        </a:lnTo>
                        <a:lnTo>
                          <a:pt x="1464" y="409"/>
                        </a:lnTo>
                        <a:lnTo>
                          <a:pt x="1473" y="415"/>
                        </a:lnTo>
                        <a:lnTo>
                          <a:pt x="1494" y="420"/>
                        </a:lnTo>
                        <a:lnTo>
                          <a:pt x="1565" y="482"/>
                        </a:lnTo>
                        <a:lnTo>
                          <a:pt x="1593" y="462"/>
                        </a:lnTo>
                        <a:lnTo>
                          <a:pt x="1621" y="450"/>
                        </a:lnTo>
                        <a:lnTo>
                          <a:pt x="1786" y="434"/>
                        </a:lnTo>
                        <a:lnTo>
                          <a:pt x="1811" y="422"/>
                        </a:lnTo>
                        <a:lnTo>
                          <a:pt x="1823" y="410"/>
                        </a:lnTo>
                        <a:lnTo>
                          <a:pt x="1831" y="398"/>
                        </a:lnTo>
                        <a:lnTo>
                          <a:pt x="1839" y="382"/>
                        </a:lnTo>
                        <a:lnTo>
                          <a:pt x="1846" y="345"/>
                        </a:lnTo>
                        <a:lnTo>
                          <a:pt x="1855" y="333"/>
                        </a:lnTo>
                        <a:lnTo>
                          <a:pt x="1865" y="324"/>
                        </a:lnTo>
                        <a:lnTo>
                          <a:pt x="2056" y="233"/>
                        </a:lnTo>
                        <a:lnTo>
                          <a:pt x="2066" y="219"/>
                        </a:lnTo>
                        <a:lnTo>
                          <a:pt x="2071" y="202"/>
                        </a:lnTo>
                        <a:lnTo>
                          <a:pt x="2074" y="163"/>
                        </a:lnTo>
                        <a:lnTo>
                          <a:pt x="2078" y="145"/>
                        </a:lnTo>
                        <a:lnTo>
                          <a:pt x="2083" y="132"/>
                        </a:lnTo>
                        <a:lnTo>
                          <a:pt x="2090" y="122"/>
                        </a:lnTo>
                        <a:lnTo>
                          <a:pt x="2100" y="117"/>
                        </a:lnTo>
                        <a:lnTo>
                          <a:pt x="2295" y="179"/>
                        </a:lnTo>
                        <a:lnTo>
                          <a:pt x="2359" y="238"/>
                        </a:lnTo>
                        <a:lnTo>
                          <a:pt x="2436" y="279"/>
                        </a:lnTo>
                        <a:lnTo>
                          <a:pt x="2511" y="273"/>
                        </a:lnTo>
                        <a:lnTo>
                          <a:pt x="2568" y="195"/>
                        </a:lnTo>
                        <a:lnTo>
                          <a:pt x="2609" y="165"/>
                        </a:lnTo>
                        <a:lnTo>
                          <a:pt x="2631" y="134"/>
                        </a:lnTo>
                        <a:lnTo>
                          <a:pt x="2651" y="94"/>
                        </a:lnTo>
                        <a:lnTo>
                          <a:pt x="2685" y="44"/>
                        </a:lnTo>
                        <a:lnTo>
                          <a:pt x="2726" y="9"/>
                        </a:lnTo>
                        <a:lnTo>
                          <a:pt x="2763" y="3"/>
                        </a:lnTo>
                        <a:lnTo>
                          <a:pt x="2800" y="5"/>
                        </a:lnTo>
                        <a:lnTo>
                          <a:pt x="2823" y="0"/>
                        </a:lnTo>
                        <a:lnTo>
                          <a:pt x="2753" y="179"/>
                        </a:lnTo>
                        <a:lnTo>
                          <a:pt x="2706" y="335"/>
                        </a:lnTo>
                        <a:lnTo>
                          <a:pt x="2704" y="365"/>
                        </a:lnTo>
                        <a:lnTo>
                          <a:pt x="2715" y="397"/>
                        </a:lnTo>
                        <a:lnTo>
                          <a:pt x="2719" y="425"/>
                        </a:lnTo>
                        <a:lnTo>
                          <a:pt x="2711" y="448"/>
                        </a:lnTo>
                        <a:lnTo>
                          <a:pt x="2702" y="455"/>
                        </a:lnTo>
                        <a:lnTo>
                          <a:pt x="2646" y="497"/>
                        </a:lnTo>
                        <a:lnTo>
                          <a:pt x="2607" y="537"/>
                        </a:lnTo>
                        <a:lnTo>
                          <a:pt x="2559" y="565"/>
                        </a:lnTo>
                        <a:lnTo>
                          <a:pt x="2552" y="580"/>
                        </a:lnTo>
                        <a:lnTo>
                          <a:pt x="2554" y="594"/>
                        </a:lnTo>
                        <a:lnTo>
                          <a:pt x="2566" y="617"/>
                        </a:lnTo>
                        <a:lnTo>
                          <a:pt x="2575" y="644"/>
                        </a:lnTo>
                        <a:lnTo>
                          <a:pt x="2583" y="708"/>
                        </a:lnTo>
                        <a:lnTo>
                          <a:pt x="2596" y="763"/>
                        </a:lnTo>
                        <a:lnTo>
                          <a:pt x="2598" y="780"/>
                        </a:lnTo>
                        <a:lnTo>
                          <a:pt x="2596" y="858"/>
                        </a:lnTo>
                        <a:lnTo>
                          <a:pt x="2599" y="927"/>
                        </a:lnTo>
                        <a:lnTo>
                          <a:pt x="2569" y="990"/>
                        </a:lnTo>
                        <a:lnTo>
                          <a:pt x="2566" y="1013"/>
                        </a:lnTo>
                        <a:lnTo>
                          <a:pt x="2570" y="1037"/>
                        </a:lnTo>
                        <a:lnTo>
                          <a:pt x="2580" y="1058"/>
                        </a:lnTo>
                        <a:lnTo>
                          <a:pt x="2610" y="1103"/>
                        </a:lnTo>
                        <a:lnTo>
                          <a:pt x="2686" y="1258"/>
                        </a:lnTo>
                        <a:lnTo>
                          <a:pt x="2691" y="1307"/>
                        </a:lnTo>
                        <a:lnTo>
                          <a:pt x="2697" y="1323"/>
                        </a:lnTo>
                        <a:lnTo>
                          <a:pt x="2707" y="1333"/>
                        </a:lnTo>
                        <a:lnTo>
                          <a:pt x="2737" y="1344"/>
                        </a:lnTo>
                        <a:lnTo>
                          <a:pt x="2755" y="1372"/>
                        </a:lnTo>
                        <a:lnTo>
                          <a:pt x="2769" y="1468"/>
                        </a:lnTo>
                        <a:lnTo>
                          <a:pt x="2712" y="1528"/>
                        </a:lnTo>
                        <a:lnTo>
                          <a:pt x="2707" y="1548"/>
                        </a:lnTo>
                        <a:lnTo>
                          <a:pt x="2702" y="1605"/>
                        </a:lnTo>
                        <a:lnTo>
                          <a:pt x="2691" y="1648"/>
                        </a:lnTo>
                        <a:lnTo>
                          <a:pt x="2674" y="1668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solidFill>
                      <a:srgbClr val="00A3E0">
                        <a:lumMod val="60000"/>
                        <a:lumOff val="40000"/>
                      </a:srgb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7" name="Karlovarský" descr="{&quot;Key&quot;:&quot;karlovarský&quot;,&quot;Name&quot;:&quot;Karlovar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7591AD90-AD3D-258E-90FE-FB18E7E5A9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73" y="1837"/>
                    <a:ext cx="978" cy="684"/>
                  </a:xfrm>
                  <a:custGeom>
                    <a:avLst/>
                    <a:gdLst>
                      <a:gd name="T0" fmla="*/ 1726 w 2240"/>
                      <a:gd name="T1" fmla="*/ 167 h 1567"/>
                      <a:gd name="T2" fmla="*/ 1867 w 2240"/>
                      <a:gd name="T3" fmla="*/ 202 h 1567"/>
                      <a:gd name="T4" fmla="*/ 1915 w 2240"/>
                      <a:gd name="T5" fmla="*/ 262 h 1567"/>
                      <a:gd name="T6" fmla="*/ 2070 w 2240"/>
                      <a:gd name="T7" fmla="*/ 288 h 1567"/>
                      <a:gd name="T8" fmla="*/ 2119 w 2240"/>
                      <a:gd name="T9" fmla="*/ 336 h 1567"/>
                      <a:gd name="T10" fmla="*/ 2133 w 2240"/>
                      <a:gd name="T11" fmla="*/ 425 h 1567"/>
                      <a:gd name="T12" fmla="*/ 2133 w 2240"/>
                      <a:gd name="T13" fmla="*/ 540 h 1567"/>
                      <a:gd name="T14" fmla="*/ 2140 w 2240"/>
                      <a:gd name="T15" fmla="*/ 622 h 1567"/>
                      <a:gd name="T16" fmla="*/ 2152 w 2240"/>
                      <a:gd name="T17" fmla="*/ 702 h 1567"/>
                      <a:gd name="T18" fmla="*/ 2208 w 2240"/>
                      <a:gd name="T19" fmla="*/ 817 h 1567"/>
                      <a:gd name="T20" fmla="*/ 2160 w 2240"/>
                      <a:gd name="T21" fmla="*/ 896 h 1567"/>
                      <a:gd name="T22" fmla="*/ 2218 w 2240"/>
                      <a:gd name="T23" fmla="*/ 946 h 1567"/>
                      <a:gd name="T24" fmla="*/ 2209 w 2240"/>
                      <a:gd name="T25" fmla="*/ 987 h 1567"/>
                      <a:gd name="T26" fmla="*/ 2202 w 2240"/>
                      <a:gd name="T27" fmla="*/ 1037 h 1567"/>
                      <a:gd name="T28" fmla="*/ 2220 w 2240"/>
                      <a:gd name="T29" fmla="*/ 1096 h 1567"/>
                      <a:gd name="T30" fmla="*/ 2098 w 2240"/>
                      <a:gd name="T31" fmla="*/ 1135 h 1567"/>
                      <a:gd name="T32" fmla="*/ 2095 w 2240"/>
                      <a:gd name="T33" fmla="*/ 1177 h 1567"/>
                      <a:gd name="T34" fmla="*/ 2107 w 2240"/>
                      <a:gd name="T35" fmla="*/ 1281 h 1567"/>
                      <a:gd name="T36" fmla="*/ 2048 w 2240"/>
                      <a:gd name="T37" fmla="*/ 1276 h 1567"/>
                      <a:gd name="T38" fmla="*/ 1847 w 2240"/>
                      <a:gd name="T39" fmla="*/ 1178 h 1567"/>
                      <a:gd name="T40" fmla="*/ 1617 w 2240"/>
                      <a:gd name="T41" fmla="*/ 1327 h 1567"/>
                      <a:gd name="T42" fmla="*/ 1576 w 2240"/>
                      <a:gd name="T43" fmla="*/ 1472 h 1567"/>
                      <a:gd name="T44" fmla="*/ 1525 w 2240"/>
                      <a:gd name="T45" fmla="*/ 1478 h 1567"/>
                      <a:gd name="T46" fmla="*/ 1409 w 2240"/>
                      <a:gd name="T47" fmla="*/ 1491 h 1567"/>
                      <a:gd name="T48" fmla="*/ 1348 w 2240"/>
                      <a:gd name="T49" fmla="*/ 1445 h 1567"/>
                      <a:gd name="T50" fmla="*/ 1137 w 2240"/>
                      <a:gd name="T51" fmla="*/ 1515 h 1567"/>
                      <a:gd name="T52" fmla="*/ 1071 w 2240"/>
                      <a:gd name="T53" fmla="*/ 1521 h 1567"/>
                      <a:gd name="T54" fmla="*/ 995 w 2240"/>
                      <a:gd name="T55" fmla="*/ 1506 h 1567"/>
                      <a:gd name="T56" fmla="*/ 914 w 2240"/>
                      <a:gd name="T57" fmla="*/ 1567 h 1567"/>
                      <a:gd name="T58" fmla="*/ 789 w 2240"/>
                      <a:gd name="T59" fmla="*/ 1520 h 1567"/>
                      <a:gd name="T60" fmla="*/ 728 w 2240"/>
                      <a:gd name="T61" fmla="*/ 1405 h 1567"/>
                      <a:gd name="T62" fmla="*/ 624 w 2240"/>
                      <a:gd name="T63" fmla="*/ 1326 h 1567"/>
                      <a:gd name="T64" fmla="*/ 315 w 2240"/>
                      <a:gd name="T65" fmla="*/ 1148 h 1567"/>
                      <a:gd name="T66" fmla="*/ 305 w 2240"/>
                      <a:gd name="T67" fmla="*/ 1075 h 1567"/>
                      <a:gd name="T68" fmla="*/ 233 w 2240"/>
                      <a:gd name="T69" fmla="*/ 1006 h 1567"/>
                      <a:gd name="T70" fmla="*/ 189 w 2240"/>
                      <a:gd name="T71" fmla="*/ 896 h 1567"/>
                      <a:gd name="T72" fmla="*/ 183 w 2240"/>
                      <a:gd name="T73" fmla="*/ 752 h 1567"/>
                      <a:gd name="T74" fmla="*/ 25 w 2240"/>
                      <a:gd name="T75" fmla="*/ 613 h 1567"/>
                      <a:gd name="T76" fmla="*/ 49 w 2240"/>
                      <a:gd name="T77" fmla="*/ 532 h 1567"/>
                      <a:gd name="T78" fmla="*/ 58 w 2240"/>
                      <a:gd name="T79" fmla="*/ 440 h 1567"/>
                      <a:gd name="T80" fmla="*/ 135 w 2240"/>
                      <a:gd name="T81" fmla="*/ 380 h 1567"/>
                      <a:gd name="T82" fmla="*/ 182 w 2240"/>
                      <a:gd name="T83" fmla="*/ 481 h 1567"/>
                      <a:gd name="T84" fmla="*/ 235 w 2240"/>
                      <a:gd name="T85" fmla="*/ 531 h 1567"/>
                      <a:gd name="T86" fmla="*/ 308 w 2240"/>
                      <a:gd name="T87" fmla="*/ 550 h 1567"/>
                      <a:gd name="T88" fmla="*/ 284 w 2240"/>
                      <a:gd name="T89" fmla="*/ 590 h 1567"/>
                      <a:gd name="T90" fmla="*/ 322 w 2240"/>
                      <a:gd name="T91" fmla="*/ 641 h 1567"/>
                      <a:gd name="T92" fmla="*/ 342 w 2240"/>
                      <a:gd name="T93" fmla="*/ 702 h 1567"/>
                      <a:gd name="T94" fmla="*/ 414 w 2240"/>
                      <a:gd name="T95" fmla="*/ 815 h 1567"/>
                      <a:gd name="T96" fmla="*/ 429 w 2240"/>
                      <a:gd name="T97" fmla="*/ 740 h 1567"/>
                      <a:gd name="T98" fmla="*/ 439 w 2240"/>
                      <a:gd name="T99" fmla="*/ 626 h 1567"/>
                      <a:gd name="T100" fmla="*/ 495 w 2240"/>
                      <a:gd name="T101" fmla="*/ 511 h 1567"/>
                      <a:gd name="T102" fmla="*/ 594 w 2240"/>
                      <a:gd name="T103" fmla="*/ 370 h 1567"/>
                      <a:gd name="T104" fmla="*/ 691 w 2240"/>
                      <a:gd name="T105" fmla="*/ 300 h 1567"/>
                      <a:gd name="T106" fmla="*/ 722 w 2240"/>
                      <a:gd name="T107" fmla="*/ 292 h 1567"/>
                      <a:gd name="T108" fmla="*/ 731 w 2240"/>
                      <a:gd name="T109" fmla="*/ 227 h 1567"/>
                      <a:gd name="T110" fmla="*/ 876 w 2240"/>
                      <a:gd name="T111" fmla="*/ 135 h 1567"/>
                      <a:gd name="T112" fmla="*/ 1137 w 2240"/>
                      <a:gd name="T113" fmla="*/ 140 h 1567"/>
                      <a:gd name="T114" fmla="*/ 1222 w 2240"/>
                      <a:gd name="T115" fmla="*/ 33 h 1567"/>
                      <a:gd name="T116" fmla="*/ 1314 w 2240"/>
                      <a:gd name="T117" fmla="*/ 25 h 1567"/>
                      <a:gd name="T118" fmla="*/ 1368 w 2240"/>
                      <a:gd name="T119" fmla="*/ 0 h 1567"/>
                      <a:gd name="T120" fmla="*/ 1618 w 2240"/>
                      <a:gd name="T121" fmla="*/ 112 h 15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240" h="1567">
                        <a:moveTo>
                          <a:pt x="1633" y="97"/>
                        </a:moveTo>
                        <a:lnTo>
                          <a:pt x="1694" y="150"/>
                        </a:lnTo>
                        <a:lnTo>
                          <a:pt x="1726" y="167"/>
                        </a:lnTo>
                        <a:lnTo>
                          <a:pt x="1847" y="181"/>
                        </a:lnTo>
                        <a:lnTo>
                          <a:pt x="1858" y="190"/>
                        </a:lnTo>
                        <a:lnTo>
                          <a:pt x="1867" y="202"/>
                        </a:lnTo>
                        <a:lnTo>
                          <a:pt x="1879" y="227"/>
                        </a:lnTo>
                        <a:lnTo>
                          <a:pt x="1893" y="245"/>
                        </a:lnTo>
                        <a:lnTo>
                          <a:pt x="1915" y="262"/>
                        </a:lnTo>
                        <a:lnTo>
                          <a:pt x="1962" y="272"/>
                        </a:lnTo>
                        <a:lnTo>
                          <a:pt x="2018" y="275"/>
                        </a:lnTo>
                        <a:lnTo>
                          <a:pt x="2070" y="288"/>
                        </a:lnTo>
                        <a:lnTo>
                          <a:pt x="2098" y="303"/>
                        </a:lnTo>
                        <a:lnTo>
                          <a:pt x="2110" y="317"/>
                        </a:lnTo>
                        <a:lnTo>
                          <a:pt x="2119" y="336"/>
                        </a:lnTo>
                        <a:lnTo>
                          <a:pt x="2129" y="375"/>
                        </a:lnTo>
                        <a:lnTo>
                          <a:pt x="2132" y="400"/>
                        </a:lnTo>
                        <a:lnTo>
                          <a:pt x="2133" y="425"/>
                        </a:lnTo>
                        <a:lnTo>
                          <a:pt x="2129" y="487"/>
                        </a:lnTo>
                        <a:lnTo>
                          <a:pt x="2129" y="506"/>
                        </a:lnTo>
                        <a:lnTo>
                          <a:pt x="2133" y="540"/>
                        </a:lnTo>
                        <a:lnTo>
                          <a:pt x="2139" y="577"/>
                        </a:lnTo>
                        <a:lnTo>
                          <a:pt x="2142" y="607"/>
                        </a:lnTo>
                        <a:lnTo>
                          <a:pt x="2140" y="622"/>
                        </a:lnTo>
                        <a:lnTo>
                          <a:pt x="2132" y="650"/>
                        </a:lnTo>
                        <a:lnTo>
                          <a:pt x="2138" y="673"/>
                        </a:lnTo>
                        <a:lnTo>
                          <a:pt x="2152" y="702"/>
                        </a:lnTo>
                        <a:lnTo>
                          <a:pt x="2190" y="762"/>
                        </a:lnTo>
                        <a:lnTo>
                          <a:pt x="2203" y="793"/>
                        </a:lnTo>
                        <a:lnTo>
                          <a:pt x="2208" y="817"/>
                        </a:lnTo>
                        <a:lnTo>
                          <a:pt x="2194" y="842"/>
                        </a:lnTo>
                        <a:lnTo>
                          <a:pt x="2167" y="877"/>
                        </a:lnTo>
                        <a:lnTo>
                          <a:pt x="2160" y="896"/>
                        </a:lnTo>
                        <a:lnTo>
                          <a:pt x="2165" y="905"/>
                        </a:lnTo>
                        <a:lnTo>
                          <a:pt x="2179" y="918"/>
                        </a:lnTo>
                        <a:lnTo>
                          <a:pt x="2218" y="946"/>
                        </a:lnTo>
                        <a:lnTo>
                          <a:pt x="2240" y="966"/>
                        </a:lnTo>
                        <a:lnTo>
                          <a:pt x="2220" y="975"/>
                        </a:lnTo>
                        <a:lnTo>
                          <a:pt x="2209" y="987"/>
                        </a:lnTo>
                        <a:lnTo>
                          <a:pt x="2202" y="1002"/>
                        </a:lnTo>
                        <a:lnTo>
                          <a:pt x="2200" y="1020"/>
                        </a:lnTo>
                        <a:lnTo>
                          <a:pt x="2202" y="1037"/>
                        </a:lnTo>
                        <a:lnTo>
                          <a:pt x="2207" y="1055"/>
                        </a:lnTo>
                        <a:lnTo>
                          <a:pt x="2219" y="1085"/>
                        </a:lnTo>
                        <a:lnTo>
                          <a:pt x="2220" y="1096"/>
                        </a:lnTo>
                        <a:lnTo>
                          <a:pt x="2213" y="1103"/>
                        </a:lnTo>
                        <a:lnTo>
                          <a:pt x="2105" y="1127"/>
                        </a:lnTo>
                        <a:lnTo>
                          <a:pt x="2098" y="1135"/>
                        </a:lnTo>
                        <a:lnTo>
                          <a:pt x="2094" y="1146"/>
                        </a:lnTo>
                        <a:lnTo>
                          <a:pt x="2094" y="1161"/>
                        </a:lnTo>
                        <a:lnTo>
                          <a:pt x="2095" y="1177"/>
                        </a:lnTo>
                        <a:lnTo>
                          <a:pt x="2117" y="1262"/>
                        </a:lnTo>
                        <a:lnTo>
                          <a:pt x="2114" y="1273"/>
                        </a:lnTo>
                        <a:lnTo>
                          <a:pt x="2107" y="1281"/>
                        </a:lnTo>
                        <a:lnTo>
                          <a:pt x="2097" y="1285"/>
                        </a:lnTo>
                        <a:lnTo>
                          <a:pt x="2073" y="1286"/>
                        </a:lnTo>
                        <a:lnTo>
                          <a:pt x="2048" y="1276"/>
                        </a:lnTo>
                        <a:lnTo>
                          <a:pt x="1983" y="1202"/>
                        </a:lnTo>
                        <a:lnTo>
                          <a:pt x="1855" y="1177"/>
                        </a:lnTo>
                        <a:lnTo>
                          <a:pt x="1847" y="1178"/>
                        </a:lnTo>
                        <a:lnTo>
                          <a:pt x="1828" y="1191"/>
                        </a:lnTo>
                        <a:lnTo>
                          <a:pt x="1788" y="1235"/>
                        </a:lnTo>
                        <a:lnTo>
                          <a:pt x="1617" y="1327"/>
                        </a:lnTo>
                        <a:lnTo>
                          <a:pt x="1607" y="1336"/>
                        </a:lnTo>
                        <a:lnTo>
                          <a:pt x="1599" y="1351"/>
                        </a:lnTo>
                        <a:lnTo>
                          <a:pt x="1576" y="1472"/>
                        </a:lnTo>
                        <a:lnTo>
                          <a:pt x="1567" y="1482"/>
                        </a:lnTo>
                        <a:lnTo>
                          <a:pt x="1556" y="1486"/>
                        </a:lnTo>
                        <a:lnTo>
                          <a:pt x="1525" y="1478"/>
                        </a:lnTo>
                        <a:lnTo>
                          <a:pt x="1475" y="1453"/>
                        </a:lnTo>
                        <a:lnTo>
                          <a:pt x="1456" y="1457"/>
                        </a:lnTo>
                        <a:lnTo>
                          <a:pt x="1409" y="1491"/>
                        </a:lnTo>
                        <a:lnTo>
                          <a:pt x="1403" y="1493"/>
                        </a:lnTo>
                        <a:lnTo>
                          <a:pt x="1389" y="1487"/>
                        </a:lnTo>
                        <a:lnTo>
                          <a:pt x="1348" y="1445"/>
                        </a:lnTo>
                        <a:lnTo>
                          <a:pt x="1206" y="1442"/>
                        </a:lnTo>
                        <a:lnTo>
                          <a:pt x="1193" y="1448"/>
                        </a:lnTo>
                        <a:lnTo>
                          <a:pt x="1137" y="1515"/>
                        </a:lnTo>
                        <a:lnTo>
                          <a:pt x="1128" y="1520"/>
                        </a:lnTo>
                        <a:lnTo>
                          <a:pt x="1102" y="1525"/>
                        </a:lnTo>
                        <a:lnTo>
                          <a:pt x="1071" y="1521"/>
                        </a:lnTo>
                        <a:lnTo>
                          <a:pt x="1015" y="1501"/>
                        </a:lnTo>
                        <a:lnTo>
                          <a:pt x="1005" y="1501"/>
                        </a:lnTo>
                        <a:lnTo>
                          <a:pt x="995" y="1506"/>
                        </a:lnTo>
                        <a:lnTo>
                          <a:pt x="945" y="1556"/>
                        </a:lnTo>
                        <a:lnTo>
                          <a:pt x="932" y="1563"/>
                        </a:lnTo>
                        <a:lnTo>
                          <a:pt x="914" y="1567"/>
                        </a:lnTo>
                        <a:lnTo>
                          <a:pt x="827" y="1551"/>
                        </a:lnTo>
                        <a:lnTo>
                          <a:pt x="815" y="1530"/>
                        </a:lnTo>
                        <a:lnTo>
                          <a:pt x="789" y="1520"/>
                        </a:lnTo>
                        <a:lnTo>
                          <a:pt x="714" y="1475"/>
                        </a:lnTo>
                        <a:lnTo>
                          <a:pt x="716" y="1443"/>
                        </a:lnTo>
                        <a:lnTo>
                          <a:pt x="728" y="1405"/>
                        </a:lnTo>
                        <a:lnTo>
                          <a:pt x="724" y="1363"/>
                        </a:lnTo>
                        <a:lnTo>
                          <a:pt x="693" y="1333"/>
                        </a:lnTo>
                        <a:lnTo>
                          <a:pt x="624" y="1326"/>
                        </a:lnTo>
                        <a:lnTo>
                          <a:pt x="597" y="1298"/>
                        </a:lnTo>
                        <a:lnTo>
                          <a:pt x="594" y="1298"/>
                        </a:lnTo>
                        <a:lnTo>
                          <a:pt x="315" y="1148"/>
                        </a:lnTo>
                        <a:lnTo>
                          <a:pt x="309" y="1131"/>
                        </a:lnTo>
                        <a:lnTo>
                          <a:pt x="309" y="1105"/>
                        </a:lnTo>
                        <a:lnTo>
                          <a:pt x="305" y="1075"/>
                        </a:lnTo>
                        <a:lnTo>
                          <a:pt x="289" y="1046"/>
                        </a:lnTo>
                        <a:lnTo>
                          <a:pt x="262" y="1023"/>
                        </a:lnTo>
                        <a:lnTo>
                          <a:pt x="233" y="1006"/>
                        </a:lnTo>
                        <a:lnTo>
                          <a:pt x="207" y="982"/>
                        </a:lnTo>
                        <a:lnTo>
                          <a:pt x="190" y="938"/>
                        </a:lnTo>
                        <a:lnTo>
                          <a:pt x="189" y="896"/>
                        </a:lnTo>
                        <a:lnTo>
                          <a:pt x="203" y="830"/>
                        </a:lnTo>
                        <a:lnTo>
                          <a:pt x="197" y="787"/>
                        </a:lnTo>
                        <a:lnTo>
                          <a:pt x="183" y="752"/>
                        </a:lnTo>
                        <a:lnTo>
                          <a:pt x="162" y="720"/>
                        </a:lnTo>
                        <a:lnTo>
                          <a:pt x="117" y="671"/>
                        </a:lnTo>
                        <a:lnTo>
                          <a:pt x="25" y="613"/>
                        </a:lnTo>
                        <a:lnTo>
                          <a:pt x="7" y="580"/>
                        </a:lnTo>
                        <a:lnTo>
                          <a:pt x="29" y="545"/>
                        </a:lnTo>
                        <a:lnTo>
                          <a:pt x="49" y="532"/>
                        </a:lnTo>
                        <a:lnTo>
                          <a:pt x="62" y="518"/>
                        </a:lnTo>
                        <a:lnTo>
                          <a:pt x="64" y="481"/>
                        </a:lnTo>
                        <a:lnTo>
                          <a:pt x="58" y="440"/>
                        </a:lnTo>
                        <a:lnTo>
                          <a:pt x="43" y="415"/>
                        </a:lnTo>
                        <a:lnTo>
                          <a:pt x="0" y="370"/>
                        </a:lnTo>
                        <a:lnTo>
                          <a:pt x="135" y="380"/>
                        </a:lnTo>
                        <a:lnTo>
                          <a:pt x="170" y="405"/>
                        </a:lnTo>
                        <a:lnTo>
                          <a:pt x="182" y="432"/>
                        </a:lnTo>
                        <a:lnTo>
                          <a:pt x="182" y="481"/>
                        </a:lnTo>
                        <a:lnTo>
                          <a:pt x="188" y="503"/>
                        </a:lnTo>
                        <a:lnTo>
                          <a:pt x="209" y="522"/>
                        </a:lnTo>
                        <a:lnTo>
                          <a:pt x="235" y="531"/>
                        </a:lnTo>
                        <a:lnTo>
                          <a:pt x="289" y="532"/>
                        </a:lnTo>
                        <a:lnTo>
                          <a:pt x="302" y="540"/>
                        </a:lnTo>
                        <a:lnTo>
                          <a:pt x="308" y="550"/>
                        </a:lnTo>
                        <a:lnTo>
                          <a:pt x="307" y="563"/>
                        </a:lnTo>
                        <a:lnTo>
                          <a:pt x="299" y="580"/>
                        </a:lnTo>
                        <a:lnTo>
                          <a:pt x="284" y="590"/>
                        </a:lnTo>
                        <a:lnTo>
                          <a:pt x="282" y="596"/>
                        </a:lnTo>
                        <a:lnTo>
                          <a:pt x="289" y="608"/>
                        </a:lnTo>
                        <a:lnTo>
                          <a:pt x="322" y="641"/>
                        </a:lnTo>
                        <a:lnTo>
                          <a:pt x="329" y="652"/>
                        </a:lnTo>
                        <a:lnTo>
                          <a:pt x="337" y="671"/>
                        </a:lnTo>
                        <a:lnTo>
                          <a:pt x="342" y="702"/>
                        </a:lnTo>
                        <a:lnTo>
                          <a:pt x="364" y="782"/>
                        </a:lnTo>
                        <a:lnTo>
                          <a:pt x="383" y="811"/>
                        </a:lnTo>
                        <a:lnTo>
                          <a:pt x="414" y="815"/>
                        </a:lnTo>
                        <a:lnTo>
                          <a:pt x="440" y="796"/>
                        </a:lnTo>
                        <a:lnTo>
                          <a:pt x="440" y="771"/>
                        </a:lnTo>
                        <a:lnTo>
                          <a:pt x="429" y="740"/>
                        </a:lnTo>
                        <a:lnTo>
                          <a:pt x="424" y="705"/>
                        </a:lnTo>
                        <a:lnTo>
                          <a:pt x="429" y="653"/>
                        </a:lnTo>
                        <a:lnTo>
                          <a:pt x="439" y="626"/>
                        </a:lnTo>
                        <a:lnTo>
                          <a:pt x="475" y="580"/>
                        </a:lnTo>
                        <a:lnTo>
                          <a:pt x="480" y="533"/>
                        </a:lnTo>
                        <a:lnTo>
                          <a:pt x="495" y="511"/>
                        </a:lnTo>
                        <a:lnTo>
                          <a:pt x="517" y="496"/>
                        </a:lnTo>
                        <a:lnTo>
                          <a:pt x="538" y="475"/>
                        </a:lnTo>
                        <a:lnTo>
                          <a:pt x="594" y="370"/>
                        </a:lnTo>
                        <a:lnTo>
                          <a:pt x="614" y="350"/>
                        </a:lnTo>
                        <a:lnTo>
                          <a:pt x="669" y="320"/>
                        </a:lnTo>
                        <a:lnTo>
                          <a:pt x="691" y="300"/>
                        </a:lnTo>
                        <a:lnTo>
                          <a:pt x="697" y="296"/>
                        </a:lnTo>
                        <a:lnTo>
                          <a:pt x="714" y="297"/>
                        </a:lnTo>
                        <a:lnTo>
                          <a:pt x="722" y="292"/>
                        </a:lnTo>
                        <a:lnTo>
                          <a:pt x="726" y="282"/>
                        </a:lnTo>
                        <a:lnTo>
                          <a:pt x="722" y="255"/>
                        </a:lnTo>
                        <a:lnTo>
                          <a:pt x="731" y="227"/>
                        </a:lnTo>
                        <a:lnTo>
                          <a:pt x="737" y="213"/>
                        </a:lnTo>
                        <a:lnTo>
                          <a:pt x="802" y="157"/>
                        </a:lnTo>
                        <a:lnTo>
                          <a:pt x="876" y="135"/>
                        </a:lnTo>
                        <a:lnTo>
                          <a:pt x="1014" y="125"/>
                        </a:lnTo>
                        <a:lnTo>
                          <a:pt x="1113" y="142"/>
                        </a:lnTo>
                        <a:lnTo>
                          <a:pt x="1137" y="140"/>
                        </a:lnTo>
                        <a:lnTo>
                          <a:pt x="1157" y="120"/>
                        </a:lnTo>
                        <a:lnTo>
                          <a:pt x="1198" y="56"/>
                        </a:lnTo>
                        <a:lnTo>
                          <a:pt x="1222" y="33"/>
                        </a:lnTo>
                        <a:lnTo>
                          <a:pt x="1252" y="22"/>
                        </a:lnTo>
                        <a:lnTo>
                          <a:pt x="1282" y="20"/>
                        </a:lnTo>
                        <a:lnTo>
                          <a:pt x="1314" y="25"/>
                        </a:lnTo>
                        <a:lnTo>
                          <a:pt x="1326" y="21"/>
                        </a:lnTo>
                        <a:lnTo>
                          <a:pt x="1352" y="3"/>
                        </a:lnTo>
                        <a:lnTo>
                          <a:pt x="1368" y="0"/>
                        </a:lnTo>
                        <a:lnTo>
                          <a:pt x="1383" y="5"/>
                        </a:lnTo>
                        <a:lnTo>
                          <a:pt x="1554" y="108"/>
                        </a:lnTo>
                        <a:lnTo>
                          <a:pt x="1618" y="112"/>
                        </a:lnTo>
                        <a:lnTo>
                          <a:pt x="1633" y="97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8" name="Jihočeský" descr="{&quot;Key&quot;:&quot;jihočeský&quot;,&quot;Name&quot;:&quot;Jihoče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84128A8D-A9B4-F6DB-7AB9-E377F89F30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7" y="2877"/>
                    <a:ext cx="1672" cy="1299"/>
                  </a:xfrm>
                  <a:custGeom>
                    <a:avLst/>
                    <a:gdLst>
                      <a:gd name="T0" fmla="*/ 2617 w 3832"/>
                      <a:gd name="T1" fmla="*/ 278 h 2975"/>
                      <a:gd name="T2" fmla="*/ 2557 w 3832"/>
                      <a:gd name="T3" fmla="*/ 471 h 2975"/>
                      <a:gd name="T4" fmla="*/ 2560 w 3832"/>
                      <a:gd name="T5" fmla="*/ 758 h 2975"/>
                      <a:gd name="T6" fmla="*/ 2582 w 3832"/>
                      <a:gd name="T7" fmla="*/ 889 h 2975"/>
                      <a:gd name="T8" fmla="*/ 2767 w 3832"/>
                      <a:gd name="T9" fmla="*/ 938 h 2975"/>
                      <a:gd name="T10" fmla="*/ 3030 w 3832"/>
                      <a:gd name="T11" fmla="*/ 1146 h 2975"/>
                      <a:gd name="T12" fmla="*/ 3108 w 3832"/>
                      <a:gd name="T13" fmla="*/ 1082 h 2975"/>
                      <a:gd name="T14" fmla="*/ 3351 w 3832"/>
                      <a:gd name="T15" fmla="*/ 1176 h 2975"/>
                      <a:gd name="T16" fmla="*/ 3468 w 3832"/>
                      <a:gd name="T17" fmla="*/ 1384 h 2975"/>
                      <a:gd name="T18" fmla="*/ 3722 w 3832"/>
                      <a:gd name="T19" fmla="*/ 1368 h 2975"/>
                      <a:gd name="T20" fmla="*/ 3810 w 3832"/>
                      <a:gd name="T21" fmla="*/ 1511 h 2975"/>
                      <a:gd name="T22" fmla="*/ 3730 w 3832"/>
                      <a:gd name="T23" fmla="*/ 1581 h 2975"/>
                      <a:gd name="T24" fmla="*/ 3665 w 3832"/>
                      <a:gd name="T25" fmla="*/ 1738 h 2975"/>
                      <a:gd name="T26" fmla="*/ 3761 w 3832"/>
                      <a:gd name="T27" fmla="*/ 1794 h 2975"/>
                      <a:gd name="T28" fmla="*/ 3751 w 3832"/>
                      <a:gd name="T29" fmla="*/ 1944 h 2975"/>
                      <a:gd name="T30" fmla="*/ 3560 w 3832"/>
                      <a:gd name="T31" fmla="*/ 1892 h 2975"/>
                      <a:gd name="T32" fmla="*/ 3243 w 3832"/>
                      <a:gd name="T33" fmla="*/ 1787 h 2975"/>
                      <a:gd name="T34" fmla="*/ 3177 w 3832"/>
                      <a:gd name="T35" fmla="*/ 1869 h 2975"/>
                      <a:gd name="T36" fmla="*/ 2995 w 3832"/>
                      <a:gd name="T37" fmla="*/ 1797 h 2975"/>
                      <a:gd name="T38" fmla="*/ 2686 w 3832"/>
                      <a:gd name="T39" fmla="*/ 1729 h 2975"/>
                      <a:gd name="T40" fmla="*/ 2631 w 3832"/>
                      <a:gd name="T41" fmla="*/ 2236 h 2975"/>
                      <a:gd name="T42" fmla="*/ 2617 w 3832"/>
                      <a:gd name="T43" fmla="*/ 2403 h 2975"/>
                      <a:gd name="T44" fmla="*/ 2341 w 3832"/>
                      <a:gd name="T45" fmla="*/ 2425 h 2975"/>
                      <a:gd name="T46" fmla="*/ 2176 w 3832"/>
                      <a:gd name="T47" fmla="*/ 2814 h 2975"/>
                      <a:gd name="T48" fmla="*/ 2055 w 3832"/>
                      <a:gd name="T49" fmla="*/ 2852 h 2975"/>
                      <a:gd name="T50" fmla="*/ 1991 w 3832"/>
                      <a:gd name="T51" fmla="*/ 2809 h 2975"/>
                      <a:gd name="T52" fmla="*/ 1772 w 3832"/>
                      <a:gd name="T53" fmla="*/ 2789 h 2975"/>
                      <a:gd name="T54" fmla="*/ 1499 w 3832"/>
                      <a:gd name="T55" fmla="*/ 2968 h 2975"/>
                      <a:gd name="T56" fmla="*/ 944 w 3832"/>
                      <a:gd name="T57" fmla="*/ 2840 h 2975"/>
                      <a:gd name="T58" fmla="*/ 921 w 3832"/>
                      <a:gd name="T59" fmla="*/ 2709 h 2975"/>
                      <a:gd name="T60" fmla="*/ 931 w 3832"/>
                      <a:gd name="T61" fmla="*/ 2663 h 2975"/>
                      <a:gd name="T62" fmla="*/ 726 w 3832"/>
                      <a:gd name="T63" fmla="*/ 2492 h 2975"/>
                      <a:gd name="T64" fmla="*/ 419 w 3832"/>
                      <a:gd name="T65" fmla="*/ 2177 h 2975"/>
                      <a:gd name="T66" fmla="*/ 185 w 3832"/>
                      <a:gd name="T67" fmla="*/ 1993 h 2975"/>
                      <a:gd name="T68" fmla="*/ 32 w 3832"/>
                      <a:gd name="T69" fmla="*/ 1830 h 2975"/>
                      <a:gd name="T70" fmla="*/ 131 w 3832"/>
                      <a:gd name="T71" fmla="*/ 1589 h 2975"/>
                      <a:gd name="T72" fmla="*/ 162 w 3832"/>
                      <a:gd name="T73" fmla="*/ 1385 h 2975"/>
                      <a:gd name="T74" fmla="*/ 302 w 3832"/>
                      <a:gd name="T75" fmla="*/ 1235 h 2975"/>
                      <a:gd name="T76" fmla="*/ 356 w 3832"/>
                      <a:gd name="T77" fmla="*/ 1162 h 2975"/>
                      <a:gd name="T78" fmla="*/ 346 w 3832"/>
                      <a:gd name="T79" fmla="*/ 1067 h 2975"/>
                      <a:gd name="T80" fmla="*/ 387 w 3832"/>
                      <a:gd name="T81" fmla="*/ 955 h 2975"/>
                      <a:gd name="T82" fmla="*/ 481 w 3832"/>
                      <a:gd name="T83" fmla="*/ 767 h 2975"/>
                      <a:gd name="T84" fmla="*/ 482 w 3832"/>
                      <a:gd name="T85" fmla="*/ 542 h 2975"/>
                      <a:gd name="T86" fmla="*/ 559 w 3832"/>
                      <a:gd name="T87" fmla="*/ 290 h 2975"/>
                      <a:gd name="T88" fmla="*/ 695 w 3832"/>
                      <a:gd name="T89" fmla="*/ 344 h 2975"/>
                      <a:gd name="T90" fmla="*/ 886 w 3832"/>
                      <a:gd name="T91" fmla="*/ 274 h 2975"/>
                      <a:gd name="T92" fmla="*/ 965 w 3832"/>
                      <a:gd name="T93" fmla="*/ 200 h 2975"/>
                      <a:gd name="T94" fmla="*/ 1125 w 3832"/>
                      <a:gd name="T95" fmla="*/ 244 h 2975"/>
                      <a:gd name="T96" fmla="*/ 1370 w 3832"/>
                      <a:gd name="T97" fmla="*/ 169 h 2975"/>
                      <a:gd name="T98" fmla="*/ 1459 w 3832"/>
                      <a:gd name="T99" fmla="*/ 238 h 2975"/>
                      <a:gd name="T100" fmla="*/ 1612 w 3832"/>
                      <a:gd name="T101" fmla="*/ 220 h 2975"/>
                      <a:gd name="T102" fmla="*/ 1945 w 3832"/>
                      <a:gd name="T103" fmla="*/ 235 h 2975"/>
                      <a:gd name="T104" fmla="*/ 2054 w 3832"/>
                      <a:gd name="T105" fmla="*/ 268 h 2975"/>
                      <a:gd name="T106" fmla="*/ 2235 w 3832"/>
                      <a:gd name="T107" fmla="*/ 155 h 2975"/>
                      <a:gd name="T108" fmla="*/ 2305 w 3832"/>
                      <a:gd name="T109" fmla="*/ 0 h 2975"/>
                      <a:gd name="T110" fmla="*/ 2415 w 3832"/>
                      <a:gd name="T111" fmla="*/ 78 h 2975"/>
                      <a:gd name="T112" fmla="*/ 2515 w 3832"/>
                      <a:gd name="T113" fmla="*/ 120 h 29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832" h="2975">
                        <a:moveTo>
                          <a:pt x="2586" y="197"/>
                        </a:moveTo>
                        <a:lnTo>
                          <a:pt x="2612" y="226"/>
                        </a:lnTo>
                        <a:lnTo>
                          <a:pt x="2620" y="238"/>
                        </a:lnTo>
                        <a:lnTo>
                          <a:pt x="2625" y="252"/>
                        </a:lnTo>
                        <a:lnTo>
                          <a:pt x="2625" y="266"/>
                        </a:lnTo>
                        <a:lnTo>
                          <a:pt x="2617" y="278"/>
                        </a:lnTo>
                        <a:lnTo>
                          <a:pt x="2605" y="287"/>
                        </a:lnTo>
                        <a:lnTo>
                          <a:pt x="2540" y="307"/>
                        </a:lnTo>
                        <a:lnTo>
                          <a:pt x="2529" y="313"/>
                        </a:lnTo>
                        <a:lnTo>
                          <a:pt x="2525" y="324"/>
                        </a:lnTo>
                        <a:lnTo>
                          <a:pt x="2552" y="424"/>
                        </a:lnTo>
                        <a:lnTo>
                          <a:pt x="2557" y="471"/>
                        </a:lnTo>
                        <a:lnTo>
                          <a:pt x="2555" y="523"/>
                        </a:lnTo>
                        <a:lnTo>
                          <a:pt x="2516" y="677"/>
                        </a:lnTo>
                        <a:lnTo>
                          <a:pt x="2516" y="697"/>
                        </a:lnTo>
                        <a:lnTo>
                          <a:pt x="2521" y="714"/>
                        </a:lnTo>
                        <a:lnTo>
                          <a:pt x="2529" y="728"/>
                        </a:lnTo>
                        <a:lnTo>
                          <a:pt x="2560" y="758"/>
                        </a:lnTo>
                        <a:lnTo>
                          <a:pt x="2568" y="774"/>
                        </a:lnTo>
                        <a:lnTo>
                          <a:pt x="2568" y="788"/>
                        </a:lnTo>
                        <a:lnTo>
                          <a:pt x="2565" y="847"/>
                        </a:lnTo>
                        <a:lnTo>
                          <a:pt x="2567" y="861"/>
                        </a:lnTo>
                        <a:lnTo>
                          <a:pt x="2572" y="876"/>
                        </a:lnTo>
                        <a:lnTo>
                          <a:pt x="2582" y="889"/>
                        </a:lnTo>
                        <a:lnTo>
                          <a:pt x="2651" y="954"/>
                        </a:lnTo>
                        <a:lnTo>
                          <a:pt x="2686" y="976"/>
                        </a:lnTo>
                        <a:lnTo>
                          <a:pt x="2702" y="978"/>
                        </a:lnTo>
                        <a:lnTo>
                          <a:pt x="2720" y="973"/>
                        </a:lnTo>
                        <a:lnTo>
                          <a:pt x="2751" y="943"/>
                        </a:lnTo>
                        <a:lnTo>
                          <a:pt x="2767" y="938"/>
                        </a:lnTo>
                        <a:lnTo>
                          <a:pt x="2783" y="939"/>
                        </a:lnTo>
                        <a:lnTo>
                          <a:pt x="2812" y="957"/>
                        </a:lnTo>
                        <a:lnTo>
                          <a:pt x="2854" y="997"/>
                        </a:lnTo>
                        <a:lnTo>
                          <a:pt x="2907" y="1033"/>
                        </a:lnTo>
                        <a:lnTo>
                          <a:pt x="2956" y="1098"/>
                        </a:lnTo>
                        <a:lnTo>
                          <a:pt x="3030" y="1146"/>
                        </a:lnTo>
                        <a:lnTo>
                          <a:pt x="3037" y="1146"/>
                        </a:lnTo>
                        <a:lnTo>
                          <a:pt x="3046" y="1141"/>
                        </a:lnTo>
                        <a:lnTo>
                          <a:pt x="3079" y="1091"/>
                        </a:lnTo>
                        <a:lnTo>
                          <a:pt x="3087" y="1084"/>
                        </a:lnTo>
                        <a:lnTo>
                          <a:pt x="3097" y="1081"/>
                        </a:lnTo>
                        <a:lnTo>
                          <a:pt x="3108" y="1082"/>
                        </a:lnTo>
                        <a:lnTo>
                          <a:pt x="3206" y="1133"/>
                        </a:lnTo>
                        <a:lnTo>
                          <a:pt x="3214" y="1138"/>
                        </a:lnTo>
                        <a:lnTo>
                          <a:pt x="3235" y="1143"/>
                        </a:lnTo>
                        <a:lnTo>
                          <a:pt x="3325" y="1154"/>
                        </a:lnTo>
                        <a:lnTo>
                          <a:pt x="3340" y="1161"/>
                        </a:lnTo>
                        <a:lnTo>
                          <a:pt x="3351" y="1176"/>
                        </a:lnTo>
                        <a:lnTo>
                          <a:pt x="3358" y="1199"/>
                        </a:lnTo>
                        <a:lnTo>
                          <a:pt x="3362" y="1244"/>
                        </a:lnTo>
                        <a:lnTo>
                          <a:pt x="3366" y="1271"/>
                        </a:lnTo>
                        <a:lnTo>
                          <a:pt x="3372" y="1289"/>
                        </a:lnTo>
                        <a:lnTo>
                          <a:pt x="3381" y="1302"/>
                        </a:lnTo>
                        <a:lnTo>
                          <a:pt x="3468" y="1384"/>
                        </a:lnTo>
                        <a:lnTo>
                          <a:pt x="3485" y="1391"/>
                        </a:lnTo>
                        <a:lnTo>
                          <a:pt x="3524" y="1384"/>
                        </a:lnTo>
                        <a:lnTo>
                          <a:pt x="3611" y="1401"/>
                        </a:lnTo>
                        <a:lnTo>
                          <a:pt x="3637" y="1398"/>
                        </a:lnTo>
                        <a:lnTo>
                          <a:pt x="3709" y="1369"/>
                        </a:lnTo>
                        <a:lnTo>
                          <a:pt x="3722" y="1368"/>
                        </a:lnTo>
                        <a:lnTo>
                          <a:pt x="3730" y="1373"/>
                        </a:lnTo>
                        <a:lnTo>
                          <a:pt x="3817" y="1461"/>
                        </a:lnTo>
                        <a:lnTo>
                          <a:pt x="3829" y="1476"/>
                        </a:lnTo>
                        <a:lnTo>
                          <a:pt x="3832" y="1493"/>
                        </a:lnTo>
                        <a:lnTo>
                          <a:pt x="3827" y="1499"/>
                        </a:lnTo>
                        <a:lnTo>
                          <a:pt x="3810" y="1511"/>
                        </a:lnTo>
                        <a:lnTo>
                          <a:pt x="3797" y="1514"/>
                        </a:lnTo>
                        <a:lnTo>
                          <a:pt x="3757" y="1517"/>
                        </a:lnTo>
                        <a:lnTo>
                          <a:pt x="3747" y="1518"/>
                        </a:lnTo>
                        <a:lnTo>
                          <a:pt x="3737" y="1534"/>
                        </a:lnTo>
                        <a:lnTo>
                          <a:pt x="3734" y="1567"/>
                        </a:lnTo>
                        <a:lnTo>
                          <a:pt x="3730" y="1581"/>
                        </a:lnTo>
                        <a:lnTo>
                          <a:pt x="3721" y="1599"/>
                        </a:lnTo>
                        <a:lnTo>
                          <a:pt x="3661" y="1671"/>
                        </a:lnTo>
                        <a:lnTo>
                          <a:pt x="3652" y="1682"/>
                        </a:lnTo>
                        <a:lnTo>
                          <a:pt x="3645" y="1716"/>
                        </a:lnTo>
                        <a:lnTo>
                          <a:pt x="3650" y="1734"/>
                        </a:lnTo>
                        <a:lnTo>
                          <a:pt x="3665" y="1738"/>
                        </a:lnTo>
                        <a:lnTo>
                          <a:pt x="3671" y="1744"/>
                        </a:lnTo>
                        <a:lnTo>
                          <a:pt x="3686" y="1777"/>
                        </a:lnTo>
                        <a:lnTo>
                          <a:pt x="3697" y="1784"/>
                        </a:lnTo>
                        <a:lnTo>
                          <a:pt x="3710" y="1787"/>
                        </a:lnTo>
                        <a:lnTo>
                          <a:pt x="3739" y="1789"/>
                        </a:lnTo>
                        <a:lnTo>
                          <a:pt x="3761" y="1794"/>
                        </a:lnTo>
                        <a:lnTo>
                          <a:pt x="3777" y="1808"/>
                        </a:lnTo>
                        <a:lnTo>
                          <a:pt x="3787" y="1822"/>
                        </a:lnTo>
                        <a:lnTo>
                          <a:pt x="3788" y="1832"/>
                        </a:lnTo>
                        <a:lnTo>
                          <a:pt x="3788" y="1844"/>
                        </a:lnTo>
                        <a:lnTo>
                          <a:pt x="3780" y="1873"/>
                        </a:lnTo>
                        <a:lnTo>
                          <a:pt x="3751" y="1944"/>
                        </a:lnTo>
                        <a:lnTo>
                          <a:pt x="3745" y="1967"/>
                        </a:lnTo>
                        <a:lnTo>
                          <a:pt x="3737" y="1984"/>
                        </a:lnTo>
                        <a:lnTo>
                          <a:pt x="3732" y="2011"/>
                        </a:lnTo>
                        <a:lnTo>
                          <a:pt x="3690" y="1994"/>
                        </a:lnTo>
                        <a:lnTo>
                          <a:pt x="3598" y="1916"/>
                        </a:lnTo>
                        <a:lnTo>
                          <a:pt x="3560" y="1892"/>
                        </a:lnTo>
                        <a:lnTo>
                          <a:pt x="3477" y="1864"/>
                        </a:lnTo>
                        <a:lnTo>
                          <a:pt x="3388" y="1819"/>
                        </a:lnTo>
                        <a:lnTo>
                          <a:pt x="3347" y="1808"/>
                        </a:lnTo>
                        <a:lnTo>
                          <a:pt x="3261" y="1807"/>
                        </a:lnTo>
                        <a:lnTo>
                          <a:pt x="3252" y="1801"/>
                        </a:lnTo>
                        <a:lnTo>
                          <a:pt x="3243" y="1787"/>
                        </a:lnTo>
                        <a:lnTo>
                          <a:pt x="3235" y="1774"/>
                        </a:lnTo>
                        <a:lnTo>
                          <a:pt x="3221" y="1774"/>
                        </a:lnTo>
                        <a:lnTo>
                          <a:pt x="3213" y="1787"/>
                        </a:lnTo>
                        <a:lnTo>
                          <a:pt x="3208" y="1824"/>
                        </a:lnTo>
                        <a:lnTo>
                          <a:pt x="3202" y="1839"/>
                        </a:lnTo>
                        <a:lnTo>
                          <a:pt x="3177" y="1869"/>
                        </a:lnTo>
                        <a:lnTo>
                          <a:pt x="3167" y="1876"/>
                        </a:lnTo>
                        <a:lnTo>
                          <a:pt x="3027" y="1914"/>
                        </a:lnTo>
                        <a:lnTo>
                          <a:pt x="2990" y="1913"/>
                        </a:lnTo>
                        <a:lnTo>
                          <a:pt x="3002" y="1873"/>
                        </a:lnTo>
                        <a:lnTo>
                          <a:pt x="3003" y="1834"/>
                        </a:lnTo>
                        <a:lnTo>
                          <a:pt x="2995" y="1797"/>
                        </a:lnTo>
                        <a:lnTo>
                          <a:pt x="2982" y="1757"/>
                        </a:lnTo>
                        <a:lnTo>
                          <a:pt x="2838" y="1746"/>
                        </a:lnTo>
                        <a:lnTo>
                          <a:pt x="2736" y="1709"/>
                        </a:lnTo>
                        <a:lnTo>
                          <a:pt x="2695" y="1716"/>
                        </a:lnTo>
                        <a:lnTo>
                          <a:pt x="2690" y="1719"/>
                        </a:lnTo>
                        <a:lnTo>
                          <a:pt x="2686" y="1729"/>
                        </a:lnTo>
                        <a:lnTo>
                          <a:pt x="2688" y="1757"/>
                        </a:lnTo>
                        <a:lnTo>
                          <a:pt x="2663" y="1817"/>
                        </a:lnTo>
                        <a:lnTo>
                          <a:pt x="2662" y="1897"/>
                        </a:lnTo>
                        <a:lnTo>
                          <a:pt x="2670" y="1983"/>
                        </a:lnTo>
                        <a:lnTo>
                          <a:pt x="2670" y="2061"/>
                        </a:lnTo>
                        <a:lnTo>
                          <a:pt x="2631" y="2236"/>
                        </a:lnTo>
                        <a:lnTo>
                          <a:pt x="2617" y="2272"/>
                        </a:lnTo>
                        <a:lnTo>
                          <a:pt x="2613" y="2291"/>
                        </a:lnTo>
                        <a:lnTo>
                          <a:pt x="2617" y="2308"/>
                        </a:lnTo>
                        <a:lnTo>
                          <a:pt x="2626" y="2331"/>
                        </a:lnTo>
                        <a:lnTo>
                          <a:pt x="2638" y="2354"/>
                        </a:lnTo>
                        <a:lnTo>
                          <a:pt x="2617" y="2403"/>
                        </a:lnTo>
                        <a:lnTo>
                          <a:pt x="2580" y="2407"/>
                        </a:lnTo>
                        <a:lnTo>
                          <a:pt x="2483" y="2367"/>
                        </a:lnTo>
                        <a:lnTo>
                          <a:pt x="2387" y="2354"/>
                        </a:lnTo>
                        <a:lnTo>
                          <a:pt x="2360" y="2364"/>
                        </a:lnTo>
                        <a:lnTo>
                          <a:pt x="2348" y="2392"/>
                        </a:lnTo>
                        <a:lnTo>
                          <a:pt x="2341" y="2425"/>
                        </a:lnTo>
                        <a:lnTo>
                          <a:pt x="2323" y="2458"/>
                        </a:lnTo>
                        <a:lnTo>
                          <a:pt x="2313" y="2512"/>
                        </a:lnTo>
                        <a:lnTo>
                          <a:pt x="2217" y="2597"/>
                        </a:lnTo>
                        <a:lnTo>
                          <a:pt x="2182" y="2654"/>
                        </a:lnTo>
                        <a:lnTo>
                          <a:pt x="2175" y="2729"/>
                        </a:lnTo>
                        <a:lnTo>
                          <a:pt x="2176" y="2814"/>
                        </a:lnTo>
                        <a:lnTo>
                          <a:pt x="2167" y="2887"/>
                        </a:lnTo>
                        <a:lnTo>
                          <a:pt x="2130" y="2924"/>
                        </a:lnTo>
                        <a:lnTo>
                          <a:pt x="2100" y="2923"/>
                        </a:lnTo>
                        <a:lnTo>
                          <a:pt x="2085" y="2904"/>
                        </a:lnTo>
                        <a:lnTo>
                          <a:pt x="2073" y="2878"/>
                        </a:lnTo>
                        <a:lnTo>
                          <a:pt x="2055" y="2852"/>
                        </a:lnTo>
                        <a:lnTo>
                          <a:pt x="2042" y="2849"/>
                        </a:lnTo>
                        <a:lnTo>
                          <a:pt x="2013" y="2859"/>
                        </a:lnTo>
                        <a:lnTo>
                          <a:pt x="2000" y="2857"/>
                        </a:lnTo>
                        <a:lnTo>
                          <a:pt x="1993" y="2845"/>
                        </a:lnTo>
                        <a:lnTo>
                          <a:pt x="1993" y="2827"/>
                        </a:lnTo>
                        <a:lnTo>
                          <a:pt x="1991" y="2809"/>
                        </a:lnTo>
                        <a:lnTo>
                          <a:pt x="1980" y="2798"/>
                        </a:lnTo>
                        <a:lnTo>
                          <a:pt x="1951" y="2800"/>
                        </a:lnTo>
                        <a:lnTo>
                          <a:pt x="1896" y="2828"/>
                        </a:lnTo>
                        <a:lnTo>
                          <a:pt x="1868" y="2834"/>
                        </a:lnTo>
                        <a:lnTo>
                          <a:pt x="1846" y="2828"/>
                        </a:lnTo>
                        <a:lnTo>
                          <a:pt x="1772" y="2789"/>
                        </a:lnTo>
                        <a:lnTo>
                          <a:pt x="1729" y="2738"/>
                        </a:lnTo>
                        <a:lnTo>
                          <a:pt x="1701" y="2755"/>
                        </a:lnTo>
                        <a:lnTo>
                          <a:pt x="1660" y="2867"/>
                        </a:lnTo>
                        <a:lnTo>
                          <a:pt x="1631" y="2897"/>
                        </a:lnTo>
                        <a:lnTo>
                          <a:pt x="1535" y="2938"/>
                        </a:lnTo>
                        <a:lnTo>
                          <a:pt x="1499" y="2968"/>
                        </a:lnTo>
                        <a:lnTo>
                          <a:pt x="1484" y="2973"/>
                        </a:lnTo>
                        <a:lnTo>
                          <a:pt x="1466" y="2975"/>
                        </a:lnTo>
                        <a:lnTo>
                          <a:pt x="1282" y="2910"/>
                        </a:lnTo>
                        <a:lnTo>
                          <a:pt x="1021" y="2882"/>
                        </a:lnTo>
                        <a:lnTo>
                          <a:pt x="959" y="2854"/>
                        </a:lnTo>
                        <a:lnTo>
                          <a:pt x="944" y="2840"/>
                        </a:lnTo>
                        <a:lnTo>
                          <a:pt x="911" y="2802"/>
                        </a:lnTo>
                        <a:lnTo>
                          <a:pt x="904" y="2785"/>
                        </a:lnTo>
                        <a:lnTo>
                          <a:pt x="895" y="2748"/>
                        </a:lnTo>
                        <a:lnTo>
                          <a:pt x="899" y="2739"/>
                        </a:lnTo>
                        <a:lnTo>
                          <a:pt x="909" y="2735"/>
                        </a:lnTo>
                        <a:lnTo>
                          <a:pt x="921" y="2709"/>
                        </a:lnTo>
                        <a:lnTo>
                          <a:pt x="926" y="2705"/>
                        </a:lnTo>
                        <a:lnTo>
                          <a:pt x="936" y="2707"/>
                        </a:lnTo>
                        <a:lnTo>
                          <a:pt x="944" y="2704"/>
                        </a:lnTo>
                        <a:lnTo>
                          <a:pt x="947" y="2687"/>
                        </a:lnTo>
                        <a:lnTo>
                          <a:pt x="942" y="2670"/>
                        </a:lnTo>
                        <a:lnTo>
                          <a:pt x="931" y="2663"/>
                        </a:lnTo>
                        <a:lnTo>
                          <a:pt x="919" y="2657"/>
                        </a:lnTo>
                        <a:lnTo>
                          <a:pt x="910" y="2648"/>
                        </a:lnTo>
                        <a:lnTo>
                          <a:pt x="897" y="2625"/>
                        </a:lnTo>
                        <a:lnTo>
                          <a:pt x="867" y="2578"/>
                        </a:lnTo>
                        <a:lnTo>
                          <a:pt x="851" y="2560"/>
                        </a:lnTo>
                        <a:lnTo>
                          <a:pt x="726" y="2492"/>
                        </a:lnTo>
                        <a:lnTo>
                          <a:pt x="686" y="2458"/>
                        </a:lnTo>
                        <a:lnTo>
                          <a:pt x="652" y="2432"/>
                        </a:lnTo>
                        <a:lnTo>
                          <a:pt x="617" y="2413"/>
                        </a:lnTo>
                        <a:lnTo>
                          <a:pt x="544" y="2393"/>
                        </a:lnTo>
                        <a:lnTo>
                          <a:pt x="507" y="2355"/>
                        </a:lnTo>
                        <a:lnTo>
                          <a:pt x="419" y="2177"/>
                        </a:lnTo>
                        <a:lnTo>
                          <a:pt x="375" y="2110"/>
                        </a:lnTo>
                        <a:lnTo>
                          <a:pt x="350" y="2095"/>
                        </a:lnTo>
                        <a:lnTo>
                          <a:pt x="281" y="2084"/>
                        </a:lnTo>
                        <a:lnTo>
                          <a:pt x="246" y="2068"/>
                        </a:lnTo>
                        <a:lnTo>
                          <a:pt x="214" y="2037"/>
                        </a:lnTo>
                        <a:lnTo>
                          <a:pt x="185" y="1993"/>
                        </a:lnTo>
                        <a:lnTo>
                          <a:pt x="166" y="1942"/>
                        </a:lnTo>
                        <a:lnTo>
                          <a:pt x="161" y="1888"/>
                        </a:lnTo>
                        <a:lnTo>
                          <a:pt x="127" y="1892"/>
                        </a:lnTo>
                        <a:lnTo>
                          <a:pt x="96" y="1875"/>
                        </a:lnTo>
                        <a:lnTo>
                          <a:pt x="65" y="1849"/>
                        </a:lnTo>
                        <a:lnTo>
                          <a:pt x="32" y="1830"/>
                        </a:lnTo>
                        <a:lnTo>
                          <a:pt x="2" y="1823"/>
                        </a:lnTo>
                        <a:lnTo>
                          <a:pt x="0" y="1797"/>
                        </a:lnTo>
                        <a:lnTo>
                          <a:pt x="40" y="1710"/>
                        </a:lnTo>
                        <a:lnTo>
                          <a:pt x="82" y="1644"/>
                        </a:lnTo>
                        <a:lnTo>
                          <a:pt x="122" y="1604"/>
                        </a:lnTo>
                        <a:lnTo>
                          <a:pt x="131" y="1589"/>
                        </a:lnTo>
                        <a:lnTo>
                          <a:pt x="136" y="1573"/>
                        </a:lnTo>
                        <a:lnTo>
                          <a:pt x="137" y="1548"/>
                        </a:lnTo>
                        <a:lnTo>
                          <a:pt x="132" y="1518"/>
                        </a:lnTo>
                        <a:lnTo>
                          <a:pt x="131" y="1488"/>
                        </a:lnTo>
                        <a:lnTo>
                          <a:pt x="139" y="1447"/>
                        </a:lnTo>
                        <a:lnTo>
                          <a:pt x="162" y="1385"/>
                        </a:lnTo>
                        <a:lnTo>
                          <a:pt x="181" y="1363"/>
                        </a:lnTo>
                        <a:lnTo>
                          <a:pt x="199" y="1355"/>
                        </a:lnTo>
                        <a:lnTo>
                          <a:pt x="221" y="1359"/>
                        </a:lnTo>
                        <a:lnTo>
                          <a:pt x="236" y="1353"/>
                        </a:lnTo>
                        <a:lnTo>
                          <a:pt x="254" y="1328"/>
                        </a:lnTo>
                        <a:lnTo>
                          <a:pt x="302" y="1235"/>
                        </a:lnTo>
                        <a:lnTo>
                          <a:pt x="319" y="1219"/>
                        </a:lnTo>
                        <a:lnTo>
                          <a:pt x="339" y="1207"/>
                        </a:lnTo>
                        <a:lnTo>
                          <a:pt x="354" y="1202"/>
                        </a:lnTo>
                        <a:lnTo>
                          <a:pt x="364" y="1193"/>
                        </a:lnTo>
                        <a:lnTo>
                          <a:pt x="365" y="1182"/>
                        </a:lnTo>
                        <a:lnTo>
                          <a:pt x="356" y="1162"/>
                        </a:lnTo>
                        <a:lnTo>
                          <a:pt x="331" y="1135"/>
                        </a:lnTo>
                        <a:lnTo>
                          <a:pt x="324" y="1125"/>
                        </a:lnTo>
                        <a:lnTo>
                          <a:pt x="321" y="1115"/>
                        </a:lnTo>
                        <a:lnTo>
                          <a:pt x="322" y="1104"/>
                        </a:lnTo>
                        <a:lnTo>
                          <a:pt x="340" y="1078"/>
                        </a:lnTo>
                        <a:lnTo>
                          <a:pt x="346" y="1067"/>
                        </a:lnTo>
                        <a:lnTo>
                          <a:pt x="349" y="1057"/>
                        </a:lnTo>
                        <a:lnTo>
                          <a:pt x="349" y="1040"/>
                        </a:lnTo>
                        <a:lnTo>
                          <a:pt x="337" y="1013"/>
                        </a:lnTo>
                        <a:lnTo>
                          <a:pt x="340" y="993"/>
                        </a:lnTo>
                        <a:lnTo>
                          <a:pt x="356" y="975"/>
                        </a:lnTo>
                        <a:lnTo>
                          <a:pt x="387" y="955"/>
                        </a:lnTo>
                        <a:lnTo>
                          <a:pt x="397" y="948"/>
                        </a:lnTo>
                        <a:lnTo>
                          <a:pt x="411" y="917"/>
                        </a:lnTo>
                        <a:lnTo>
                          <a:pt x="421" y="880"/>
                        </a:lnTo>
                        <a:lnTo>
                          <a:pt x="437" y="844"/>
                        </a:lnTo>
                        <a:lnTo>
                          <a:pt x="472" y="784"/>
                        </a:lnTo>
                        <a:lnTo>
                          <a:pt x="481" y="767"/>
                        </a:lnTo>
                        <a:lnTo>
                          <a:pt x="484" y="748"/>
                        </a:lnTo>
                        <a:lnTo>
                          <a:pt x="481" y="724"/>
                        </a:lnTo>
                        <a:lnTo>
                          <a:pt x="471" y="674"/>
                        </a:lnTo>
                        <a:lnTo>
                          <a:pt x="466" y="639"/>
                        </a:lnTo>
                        <a:lnTo>
                          <a:pt x="470" y="595"/>
                        </a:lnTo>
                        <a:lnTo>
                          <a:pt x="482" y="542"/>
                        </a:lnTo>
                        <a:lnTo>
                          <a:pt x="485" y="528"/>
                        </a:lnTo>
                        <a:lnTo>
                          <a:pt x="482" y="503"/>
                        </a:lnTo>
                        <a:lnTo>
                          <a:pt x="459" y="412"/>
                        </a:lnTo>
                        <a:lnTo>
                          <a:pt x="432" y="353"/>
                        </a:lnTo>
                        <a:lnTo>
                          <a:pt x="540" y="290"/>
                        </a:lnTo>
                        <a:lnTo>
                          <a:pt x="559" y="290"/>
                        </a:lnTo>
                        <a:lnTo>
                          <a:pt x="580" y="305"/>
                        </a:lnTo>
                        <a:lnTo>
                          <a:pt x="590" y="309"/>
                        </a:lnTo>
                        <a:lnTo>
                          <a:pt x="629" y="310"/>
                        </a:lnTo>
                        <a:lnTo>
                          <a:pt x="651" y="318"/>
                        </a:lnTo>
                        <a:lnTo>
                          <a:pt x="662" y="325"/>
                        </a:lnTo>
                        <a:lnTo>
                          <a:pt x="695" y="344"/>
                        </a:lnTo>
                        <a:lnTo>
                          <a:pt x="711" y="347"/>
                        </a:lnTo>
                        <a:lnTo>
                          <a:pt x="730" y="344"/>
                        </a:lnTo>
                        <a:lnTo>
                          <a:pt x="764" y="327"/>
                        </a:lnTo>
                        <a:lnTo>
                          <a:pt x="787" y="312"/>
                        </a:lnTo>
                        <a:lnTo>
                          <a:pt x="876" y="284"/>
                        </a:lnTo>
                        <a:lnTo>
                          <a:pt x="886" y="274"/>
                        </a:lnTo>
                        <a:lnTo>
                          <a:pt x="896" y="242"/>
                        </a:lnTo>
                        <a:lnTo>
                          <a:pt x="906" y="222"/>
                        </a:lnTo>
                        <a:lnTo>
                          <a:pt x="917" y="212"/>
                        </a:lnTo>
                        <a:lnTo>
                          <a:pt x="939" y="200"/>
                        </a:lnTo>
                        <a:lnTo>
                          <a:pt x="951" y="198"/>
                        </a:lnTo>
                        <a:lnTo>
                          <a:pt x="965" y="200"/>
                        </a:lnTo>
                        <a:lnTo>
                          <a:pt x="984" y="210"/>
                        </a:lnTo>
                        <a:lnTo>
                          <a:pt x="1006" y="228"/>
                        </a:lnTo>
                        <a:lnTo>
                          <a:pt x="1017" y="232"/>
                        </a:lnTo>
                        <a:lnTo>
                          <a:pt x="1052" y="234"/>
                        </a:lnTo>
                        <a:lnTo>
                          <a:pt x="1076" y="243"/>
                        </a:lnTo>
                        <a:lnTo>
                          <a:pt x="1125" y="244"/>
                        </a:lnTo>
                        <a:lnTo>
                          <a:pt x="1232" y="230"/>
                        </a:lnTo>
                        <a:lnTo>
                          <a:pt x="1269" y="215"/>
                        </a:lnTo>
                        <a:lnTo>
                          <a:pt x="1302" y="182"/>
                        </a:lnTo>
                        <a:lnTo>
                          <a:pt x="1319" y="174"/>
                        </a:lnTo>
                        <a:lnTo>
                          <a:pt x="1341" y="169"/>
                        </a:lnTo>
                        <a:lnTo>
                          <a:pt x="1370" y="169"/>
                        </a:lnTo>
                        <a:lnTo>
                          <a:pt x="1392" y="175"/>
                        </a:lnTo>
                        <a:lnTo>
                          <a:pt x="1409" y="187"/>
                        </a:lnTo>
                        <a:lnTo>
                          <a:pt x="1415" y="205"/>
                        </a:lnTo>
                        <a:lnTo>
                          <a:pt x="1422" y="217"/>
                        </a:lnTo>
                        <a:lnTo>
                          <a:pt x="1444" y="224"/>
                        </a:lnTo>
                        <a:lnTo>
                          <a:pt x="1459" y="238"/>
                        </a:lnTo>
                        <a:lnTo>
                          <a:pt x="1471" y="257"/>
                        </a:lnTo>
                        <a:lnTo>
                          <a:pt x="1480" y="264"/>
                        </a:lnTo>
                        <a:lnTo>
                          <a:pt x="1494" y="270"/>
                        </a:lnTo>
                        <a:lnTo>
                          <a:pt x="1507" y="272"/>
                        </a:lnTo>
                        <a:lnTo>
                          <a:pt x="1526" y="269"/>
                        </a:lnTo>
                        <a:lnTo>
                          <a:pt x="1612" y="220"/>
                        </a:lnTo>
                        <a:lnTo>
                          <a:pt x="1627" y="218"/>
                        </a:lnTo>
                        <a:lnTo>
                          <a:pt x="1651" y="217"/>
                        </a:lnTo>
                        <a:lnTo>
                          <a:pt x="1675" y="223"/>
                        </a:lnTo>
                        <a:lnTo>
                          <a:pt x="1706" y="239"/>
                        </a:lnTo>
                        <a:lnTo>
                          <a:pt x="1740" y="244"/>
                        </a:lnTo>
                        <a:lnTo>
                          <a:pt x="1945" y="235"/>
                        </a:lnTo>
                        <a:lnTo>
                          <a:pt x="1969" y="242"/>
                        </a:lnTo>
                        <a:lnTo>
                          <a:pt x="1966" y="258"/>
                        </a:lnTo>
                        <a:lnTo>
                          <a:pt x="1970" y="269"/>
                        </a:lnTo>
                        <a:lnTo>
                          <a:pt x="2014" y="275"/>
                        </a:lnTo>
                        <a:lnTo>
                          <a:pt x="2034" y="273"/>
                        </a:lnTo>
                        <a:lnTo>
                          <a:pt x="2054" y="268"/>
                        </a:lnTo>
                        <a:lnTo>
                          <a:pt x="2097" y="239"/>
                        </a:lnTo>
                        <a:lnTo>
                          <a:pt x="2125" y="212"/>
                        </a:lnTo>
                        <a:lnTo>
                          <a:pt x="2137" y="205"/>
                        </a:lnTo>
                        <a:lnTo>
                          <a:pt x="2197" y="193"/>
                        </a:lnTo>
                        <a:lnTo>
                          <a:pt x="2222" y="173"/>
                        </a:lnTo>
                        <a:lnTo>
                          <a:pt x="2235" y="155"/>
                        </a:lnTo>
                        <a:lnTo>
                          <a:pt x="2239" y="80"/>
                        </a:lnTo>
                        <a:lnTo>
                          <a:pt x="2242" y="63"/>
                        </a:lnTo>
                        <a:lnTo>
                          <a:pt x="2254" y="40"/>
                        </a:lnTo>
                        <a:lnTo>
                          <a:pt x="2266" y="22"/>
                        </a:lnTo>
                        <a:lnTo>
                          <a:pt x="2290" y="2"/>
                        </a:lnTo>
                        <a:lnTo>
                          <a:pt x="2305" y="0"/>
                        </a:lnTo>
                        <a:lnTo>
                          <a:pt x="2315" y="12"/>
                        </a:lnTo>
                        <a:lnTo>
                          <a:pt x="2329" y="29"/>
                        </a:lnTo>
                        <a:lnTo>
                          <a:pt x="2345" y="42"/>
                        </a:lnTo>
                        <a:lnTo>
                          <a:pt x="2399" y="58"/>
                        </a:lnTo>
                        <a:lnTo>
                          <a:pt x="2409" y="67"/>
                        </a:lnTo>
                        <a:lnTo>
                          <a:pt x="2415" y="78"/>
                        </a:lnTo>
                        <a:lnTo>
                          <a:pt x="2417" y="103"/>
                        </a:lnTo>
                        <a:lnTo>
                          <a:pt x="2426" y="109"/>
                        </a:lnTo>
                        <a:lnTo>
                          <a:pt x="2445" y="112"/>
                        </a:lnTo>
                        <a:lnTo>
                          <a:pt x="2481" y="104"/>
                        </a:lnTo>
                        <a:lnTo>
                          <a:pt x="2504" y="113"/>
                        </a:lnTo>
                        <a:lnTo>
                          <a:pt x="2515" y="120"/>
                        </a:lnTo>
                        <a:lnTo>
                          <a:pt x="2531" y="160"/>
                        </a:lnTo>
                        <a:lnTo>
                          <a:pt x="2539" y="172"/>
                        </a:lnTo>
                        <a:lnTo>
                          <a:pt x="2557" y="190"/>
                        </a:lnTo>
                        <a:lnTo>
                          <a:pt x="2574" y="199"/>
                        </a:lnTo>
                        <a:lnTo>
                          <a:pt x="2586" y="197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9" name="Vysočina" descr="{&quot;Key&quot;:&quot;vysočina&quot;,&quot;Name&quot;:&quot;Vysočina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6E54F3A8-75AB-EAD9-4B81-BB57196C81F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35" y="2551"/>
                    <a:ext cx="1227" cy="1152"/>
                  </a:xfrm>
                  <a:custGeom>
                    <a:avLst/>
                    <a:gdLst>
                      <a:gd name="T0" fmla="*/ 2745 w 2813"/>
                      <a:gd name="T1" fmla="*/ 931 h 2639"/>
                      <a:gd name="T2" fmla="*/ 2813 w 2813"/>
                      <a:gd name="T3" fmla="*/ 1041 h 2639"/>
                      <a:gd name="T4" fmla="*/ 2740 w 2813"/>
                      <a:gd name="T5" fmla="*/ 1107 h 2639"/>
                      <a:gd name="T6" fmla="*/ 2741 w 2813"/>
                      <a:gd name="T7" fmla="*/ 1304 h 2639"/>
                      <a:gd name="T8" fmla="*/ 2773 w 2813"/>
                      <a:gd name="T9" fmla="*/ 1484 h 2639"/>
                      <a:gd name="T10" fmla="*/ 2558 w 2813"/>
                      <a:gd name="T11" fmla="*/ 1675 h 2639"/>
                      <a:gd name="T12" fmla="*/ 2576 w 2813"/>
                      <a:gd name="T13" fmla="*/ 1769 h 2639"/>
                      <a:gd name="T14" fmla="*/ 2507 w 2813"/>
                      <a:gd name="T15" fmla="*/ 1847 h 2639"/>
                      <a:gd name="T16" fmla="*/ 2542 w 2813"/>
                      <a:gd name="T17" fmla="*/ 1935 h 2639"/>
                      <a:gd name="T18" fmla="*/ 2559 w 2813"/>
                      <a:gd name="T19" fmla="*/ 1994 h 2639"/>
                      <a:gd name="T20" fmla="*/ 2515 w 2813"/>
                      <a:gd name="T21" fmla="*/ 2094 h 2639"/>
                      <a:gd name="T22" fmla="*/ 2517 w 2813"/>
                      <a:gd name="T23" fmla="*/ 2197 h 2639"/>
                      <a:gd name="T24" fmla="*/ 2286 w 2813"/>
                      <a:gd name="T25" fmla="*/ 2365 h 2639"/>
                      <a:gd name="T26" fmla="*/ 2087 w 2813"/>
                      <a:gd name="T27" fmla="*/ 2382 h 2639"/>
                      <a:gd name="T28" fmla="*/ 1984 w 2813"/>
                      <a:gd name="T29" fmla="*/ 2341 h 2639"/>
                      <a:gd name="T30" fmla="*/ 1892 w 2813"/>
                      <a:gd name="T31" fmla="*/ 2392 h 2639"/>
                      <a:gd name="T32" fmla="*/ 1840 w 2813"/>
                      <a:gd name="T33" fmla="*/ 2456 h 2639"/>
                      <a:gd name="T34" fmla="*/ 1570 w 2813"/>
                      <a:gd name="T35" fmla="*/ 2614 h 2639"/>
                      <a:gd name="T36" fmla="*/ 1466 w 2813"/>
                      <a:gd name="T37" fmla="*/ 2559 h 2639"/>
                      <a:gd name="T38" fmla="*/ 1402 w 2813"/>
                      <a:gd name="T39" fmla="*/ 2629 h 2639"/>
                      <a:gd name="T40" fmla="*/ 1322 w 2813"/>
                      <a:gd name="T41" fmla="*/ 2566 h 2639"/>
                      <a:gd name="T42" fmla="*/ 1272 w 2813"/>
                      <a:gd name="T43" fmla="*/ 2580 h 2639"/>
                      <a:gd name="T44" fmla="*/ 1194 w 2813"/>
                      <a:gd name="T45" fmla="*/ 2535 h 2639"/>
                      <a:gd name="T46" fmla="*/ 1134 w 2813"/>
                      <a:gd name="T47" fmla="*/ 2482 h 2639"/>
                      <a:gd name="T48" fmla="*/ 1214 w 2813"/>
                      <a:gd name="T49" fmla="*/ 2329 h 2639"/>
                      <a:gd name="T50" fmla="*/ 1281 w 2813"/>
                      <a:gd name="T51" fmla="*/ 2262 h 2639"/>
                      <a:gd name="T52" fmla="*/ 1301 w 2813"/>
                      <a:gd name="T53" fmla="*/ 2209 h 2639"/>
                      <a:gd name="T54" fmla="*/ 1095 w 2813"/>
                      <a:gd name="T55" fmla="*/ 2149 h 2639"/>
                      <a:gd name="T56" fmla="*/ 856 w 2813"/>
                      <a:gd name="T57" fmla="*/ 2037 h 2639"/>
                      <a:gd name="T58" fmla="*/ 824 w 2813"/>
                      <a:gd name="T59" fmla="*/ 1909 h 2639"/>
                      <a:gd name="T60" fmla="*/ 592 w 2813"/>
                      <a:gd name="T61" fmla="*/ 1830 h 2639"/>
                      <a:gd name="T62" fmla="*/ 521 w 2813"/>
                      <a:gd name="T63" fmla="*/ 1894 h 2639"/>
                      <a:gd name="T64" fmla="*/ 296 w 2813"/>
                      <a:gd name="T65" fmla="*/ 1705 h 2639"/>
                      <a:gd name="T66" fmla="*/ 186 w 2813"/>
                      <a:gd name="T67" fmla="*/ 1726 h 2639"/>
                      <a:gd name="T68" fmla="*/ 51 w 2813"/>
                      <a:gd name="T69" fmla="*/ 1609 h 2639"/>
                      <a:gd name="T70" fmla="*/ 12 w 2813"/>
                      <a:gd name="T71" fmla="*/ 1476 h 2639"/>
                      <a:gd name="T72" fmla="*/ 41 w 2813"/>
                      <a:gd name="T73" fmla="*/ 1219 h 2639"/>
                      <a:gd name="T74" fmla="*/ 89 w 2813"/>
                      <a:gd name="T75" fmla="*/ 1035 h 2639"/>
                      <a:gd name="T76" fmla="*/ 96 w 2813"/>
                      <a:gd name="T77" fmla="*/ 973 h 2639"/>
                      <a:gd name="T78" fmla="*/ 122 w 2813"/>
                      <a:gd name="T79" fmla="*/ 883 h 2639"/>
                      <a:gd name="T80" fmla="*/ 171 w 2813"/>
                      <a:gd name="T81" fmla="*/ 803 h 2639"/>
                      <a:gd name="T82" fmla="*/ 296 w 2813"/>
                      <a:gd name="T83" fmla="*/ 823 h 2639"/>
                      <a:gd name="T84" fmla="*/ 502 w 2813"/>
                      <a:gd name="T85" fmla="*/ 813 h 2639"/>
                      <a:gd name="T86" fmla="*/ 627 w 2813"/>
                      <a:gd name="T87" fmla="*/ 637 h 2639"/>
                      <a:gd name="T88" fmla="*/ 527 w 2813"/>
                      <a:gd name="T89" fmla="*/ 518 h 2639"/>
                      <a:gd name="T90" fmla="*/ 604 w 2813"/>
                      <a:gd name="T91" fmla="*/ 397 h 2639"/>
                      <a:gd name="T92" fmla="*/ 677 w 2813"/>
                      <a:gd name="T93" fmla="*/ 370 h 2639"/>
                      <a:gd name="T94" fmla="*/ 907 w 2813"/>
                      <a:gd name="T95" fmla="*/ 241 h 2639"/>
                      <a:gd name="T96" fmla="*/ 1017 w 2813"/>
                      <a:gd name="T97" fmla="*/ 220 h 2639"/>
                      <a:gd name="T98" fmla="*/ 1057 w 2813"/>
                      <a:gd name="T99" fmla="*/ 101 h 2639"/>
                      <a:gd name="T100" fmla="*/ 1105 w 2813"/>
                      <a:gd name="T101" fmla="*/ 24 h 2639"/>
                      <a:gd name="T102" fmla="*/ 1290 w 2813"/>
                      <a:gd name="T103" fmla="*/ 195 h 2639"/>
                      <a:gd name="T104" fmla="*/ 1606 w 2813"/>
                      <a:gd name="T105" fmla="*/ 276 h 2639"/>
                      <a:gd name="T106" fmla="*/ 1657 w 2813"/>
                      <a:gd name="T107" fmla="*/ 355 h 2639"/>
                      <a:gd name="T108" fmla="*/ 1796 w 2813"/>
                      <a:gd name="T109" fmla="*/ 502 h 2639"/>
                      <a:gd name="T110" fmla="*/ 1917 w 2813"/>
                      <a:gd name="T111" fmla="*/ 524 h 2639"/>
                      <a:gd name="T112" fmla="*/ 2011 w 2813"/>
                      <a:gd name="T113" fmla="*/ 467 h 2639"/>
                      <a:gd name="T114" fmla="*/ 2059 w 2813"/>
                      <a:gd name="T115" fmla="*/ 412 h 2639"/>
                      <a:gd name="T116" fmla="*/ 2191 w 2813"/>
                      <a:gd name="T117" fmla="*/ 466 h 2639"/>
                      <a:gd name="T118" fmla="*/ 2270 w 2813"/>
                      <a:gd name="T119" fmla="*/ 532 h 2639"/>
                      <a:gd name="T120" fmla="*/ 2519 w 2813"/>
                      <a:gd name="T121" fmla="*/ 616 h 2639"/>
                      <a:gd name="T122" fmla="*/ 2604 w 2813"/>
                      <a:gd name="T123" fmla="*/ 711 h 2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2813" h="2639">
                        <a:moveTo>
                          <a:pt x="2780" y="795"/>
                        </a:moveTo>
                        <a:lnTo>
                          <a:pt x="2776" y="826"/>
                        </a:lnTo>
                        <a:lnTo>
                          <a:pt x="2768" y="859"/>
                        </a:lnTo>
                        <a:lnTo>
                          <a:pt x="2745" y="916"/>
                        </a:lnTo>
                        <a:lnTo>
                          <a:pt x="2745" y="931"/>
                        </a:lnTo>
                        <a:lnTo>
                          <a:pt x="2749" y="944"/>
                        </a:lnTo>
                        <a:lnTo>
                          <a:pt x="2800" y="994"/>
                        </a:lnTo>
                        <a:lnTo>
                          <a:pt x="2806" y="1007"/>
                        </a:lnTo>
                        <a:lnTo>
                          <a:pt x="2810" y="1024"/>
                        </a:lnTo>
                        <a:lnTo>
                          <a:pt x="2813" y="1041"/>
                        </a:lnTo>
                        <a:lnTo>
                          <a:pt x="2811" y="1059"/>
                        </a:lnTo>
                        <a:lnTo>
                          <a:pt x="2808" y="1075"/>
                        </a:lnTo>
                        <a:lnTo>
                          <a:pt x="2803" y="1089"/>
                        </a:lnTo>
                        <a:lnTo>
                          <a:pt x="2795" y="1097"/>
                        </a:lnTo>
                        <a:lnTo>
                          <a:pt x="2740" y="1107"/>
                        </a:lnTo>
                        <a:lnTo>
                          <a:pt x="2731" y="1114"/>
                        </a:lnTo>
                        <a:lnTo>
                          <a:pt x="2726" y="1122"/>
                        </a:lnTo>
                        <a:lnTo>
                          <a:pt x="2726" y="1136"/>
                        </a:lnTo>
                        <a:lnTo>
                          <a:pt x="2736" y="1174"/>
                        </a:lnTo>
                        <a:lnTo>
                          <a:pt x="2741" y="1304"/>
                        </a:lnTo>
                        <a:lnTo>
                          <a:pt x="2745" y="1324"/>
                        </a:lnTo>
                        <a:lnTo>
                          <a:pt x="2779" y="1432"/>
                        </a:lnTo>
                        <a:lnTo>
                          <a:pt x="2781" y="1452"/>
                        </a:lnTo>
                        <a:lnTo>
                          <a:pt x="2780" y="1470"/>
                        </a:lnTo>
                        <a:lnTo>
                          <a:pt x="2773" y="1484"/>
                        </a:lnTo>
                        <a:lnTo>
                          <a:pt x="2611" y="1582"/>
                        </a:lnTo>
                        <a:lnTo>
                          <a:pt x="2588" y="1606"/>
                        </a:lnTo>
                        <a:lnTo>
                          <a:pt x="2569" y="1637"/>
                        </a:lnTo>
                        <a:lnTo>
                          <a:pt x="2561" y="1655"/>
                        </a:lnTo>
                        <a:lnTo>
                          <a:pt x="2558" y="1675"/>
                        </a:lnTo>
                        <a:lnTo>
                          <a:pt x="2556" y="1692"/>
                        </a:lnTo>
                        <a:lnTo>
                          <a:pt x="2561" y="1716"/>
                        </a:lnTo>
                        <a:lnTo>
                          <a:pt x="2574" y="1740"/>
                        </a:lnTo>
                        <a:lnTo>
                          <a:pt x="2579" y="1760"/>
                        </a:lnTo>
                        <a:lnTo>
                          <a:pt x="2576" y="1769"/>
                        </a:lnTo>
                        <a:lnTo>
                          <a:pt x="2571" y="1775"/>
                        </a:lnTo>
                        <a:lnTo>
                          <a:pt x="2531" y="1791"/>
                        </a:lnTo>
                        <a:lnTo>
                          <a:pt x="2522" y="1800"/>
                        </a:lnTo>
                        <a:lnTo>
                          <a:pt x="2516" y="1812"/>
                        </a:lnTo>
                        <a:lnTo>
                          <a:pt x="2507" y="1847"/>
                        </a:lnTo>
                        <a:lnTo>
                          <a:pt x="2505" y="1882"/>
                        </a:lnTo>
                        <a:lnTo>
                          <a:pt x="2507" y="1899"/>
                        </a:lnTo>
                        <a:lnTo>
                          <a:pt x="2511" y="1912"/>
                        </a:lnTo>
                        <a:lnTo>
                          <a:pt x="2519" y="1922"/>
                        </a:lnTo>
                        <a:lnTo>
                          <a:pt x="2542" y="1935"/>
                        </a:lnTo>
                        <a:lnTo>
                          <a:pt x="2551" y="1942"/>
                        </a:lnTo>
                        <a:lnTo>
                          <a:pt x="2559" y="1952"/>
                        </a:lnTo>
                        <a:lnTo>
                          <a:pt x="2562" y="1965"/>
                        </a:lnTo>
                        <a:lnTo>
                          <a:pt x="2562" y="1979"/>
                        </a:lnTo>
                        <a:lnTo>
                          <a:pt x="2559" y="1994"/>
                        </a:lnTo>
                        <a:lnTo>
                          <a:pt x="2550" y="2009"/>
                        </a:lnTo>
                        <a:lnTo>
                          <a:pt x="2524" y="2040"/>
                        </a:lnTo>
                        <a:lnTo>
                          <a:pt x="2516" y="2055"/>
                        </a:lnTo>
                        <a:lnTo>
                          <a:pt x="2512" y="2069"/>
                        </a:lnTo>
                        <a:lnTo>
                          <a:pt x="2515" y="2094"/>
                        </a:lnTo>
                        <a:lnTo>
                          <a:pt x="2530" y="2130"/>
                        </a:lnTo>
                        <a:lnTo>
                          <a:pt x="2534" y="2142"/>
                        </a:lnTo>
                        <a:lnTo>
                          <a:pt x="2534" y="2156"/>
                        </a:lnTo>
                        <a:lnTo>
                          <a:pt x="2530" y="2169"/>
                        </a:lnTo>
                        <a:lnTo>
                          <a:pt x="2517" y="2197"/>
                        </a:lnTo>
                        <a:lnTo>
                          <a:pt x="2477" y="2246"/>
                        </a:lnTo>
                        <a:lnTo>
                          <a:pt x="2347" y="2289"/>
                        </a:lnTo>
                        <a:lnTo>
                          <a:pt x="2340" y="2295"/>
                        </a:lnTo>
                        <a:lnTo>
                          <a:pt x="2301" y="2352"/>
                        </a:lnTo>
                        <a:lnTo>
                          <a:pt x="2286" y="2365"/>
                        </a:lnTo>
                        <a:lnTo>
                          <a:pt x="2267" y="2371"/>
                        </a:lnTo>
                        <a:lnTo>
                          <a:pt x="2140" y="2350"/>
                        </a:lnTo>
                        <a:lnTo>
                          <a:pt x="2131" y="2352"/>
                        </a:lnTo>
                        <a:lnTo>
                          <a:pt x="2099" y="2377"/>
                        </a:lnTo>
                        <a:lnTo>
                          <a:pt x="2087" y="2382"/>
                        </a:lnTo>
                        <a:lnTo>
                          <a:pt x="2032" y="2385"/>
                        </a:lnTo>
                        <a:lnTo>
                          <a:pt x="2010" y="2379"/>
                        </a:lnTo>
                        <a:lnTo>
                          <a:pt x="2000" y="2370"/>
                        </a:lnTo>
                        <a:lnTo>
                          <a:pt x="1991" y="2359"/>
                        </a:lnTo>
                        <a:lnTo>
                          <a:pt x="1984" y="2341"/>
                        </a:lnTo>
                        <a:lnTo>
                          <a:pt x="1974" y="2329"/>
                        </a:lnTo>
                        <a:lnTo>
                          <a:pt x="1961" y="2327"/>
                        </a:lnTo>
                        <a:lnTo>
                          <a:pt x="1947" y="2335"/>
                        </a:lnTo>
                        <a:lnTo>
                          <a:pt x="1900" y="2395"/>
                        </a:lnTo>
                        <a:lnTo>
                          <a:pt x="1892" y="2392"/>
                        </a:lnTo>
                        <a:lnTo>
                          <a:pt x="1875" y="2391"/>
                        </a:lnTo>
                        <a:lnTo>
                          <a:pt x="1866" y="2395"/>
                        </a:lnTo>
                        <a:lnTo>
                          <a:pt x="1856" y="2404"/>
                        </a:lnTo>
                        <a:lnTo>
                          <a:pt x="1850" y="2416"/>
                        </a:lnTo>
                        <a:lnTo>
                          <a:pt x="1840" y="2456"/>
                        </a:lnTo>
                        <a:lnTo>
                          <a:pt x="1831" y="2469"/>
                        </a:lnTo>
                        <a:lnTo>
                          <a:pt x="1819" y="2475"/>
                        </a:lnTo>
                        <a:lnTo>
                          <a:pt x="1755" y="2469"/>
                        </a:lnTo>
                        <a:lnTo>
                          <a:pt x="1704" y="2492"/>
                        </a:lnTo>
                        <a:lnTo>
                          <a:pt x="1570" y="2614"/>
                        </a:lnTo>
                        <a:lnTo>
                          <a:pt x="1559" y="2615"/>
                        </a:lnTo>
                        <a:lnTo>
                          <a:pt x="1547" y="2611"/>
                        </a:lnTo>
                        <a:lnTo>
                          <a:pt x="1492" y="2564"/>
                        </a:lnTo>
                        <a:lnTo>
                          <a:pt x="1480" y="2559"/>
                        </a:lnTo>
                        <a:lnTo>
                          <a:pt x="1466" y="2559"/>
                        </a:lnTo>
                        <a:lnTo>
                          <a:pt x="1455" y="2564"/>
                        </a:lnTo>
                        <a:lnTo>
                          <a:pt x="1436" y="2579"/>
                        </a:lnTo>
                        <a:lnTo>
                          <a:pt x="1422" y="2595"/>
                        </a:lnTo>
                        <a:lnTo>
                          <a:pt x="1417" y="2607"/>
                        </a:lnTo>
                        <a:lnTo>
                          <a:pt x="1402" y="2629"/>
                        </a:lnTo>
                        <a:lnTo>
                          <a:pt x="1392" y="2637"/>
                        </a:lnTo>
                        <a:lnTo>
                          <a:pt x="1382" y="2639"/>
                        </a:lnTo>
                        <a:lnTo>
                          <a:pt x="1371" y="2634"/>
                        </a:lnTo>
                        <a:lnTo>
                          <a:pt x="1336" y="2577"/>
                        </a:lnTo>
                        <a:lnTo>
                          <a:pt x="1322" y="2566"/>
                        </a:lnTo>
                        <a:lnTo>
                          <a:pt x="1310" y="2559"/>
                        </a:lnTo>
                        <a:lnTo>
                          <a:pt x="1297" y="2557"/>
                        </a:lnTo>
                        <a:lnTo>
                          <a:pt x="1286" y="2560"/>
                        </a:lnTo>
                        <a:lnTo>
                          <a:pt x="1277" y="2567"/>
                        </a:lnTo>
                        <a:lnTo>
                          <a:pt x="1272" y="2580"/>
                        </a:lnTo>
                        <a:lnTo>
                          <a:pt x="1271" y="2570"/>
                        </a:lnTo>
                        <a:lnTo>
                          <a:pt x="1261" y="2556"/>
                        </a:lnTo>
                        <a:lnTo>
                          <a:pt x="1245" y="2542"/>
                        </a:lnTo>
                        <a:lnTo>
                          <a:pt x="1223" y="2537"/>
                        </a:lnTo>
                        <a:lnTo>
                          <a:pt x="1194" y="2535"/>
                        </a:lnTo>
                        <a:lnTo>
                          <a:pt x="1181" y="2532"/>
                        </a:lnTo>
                        <a:lnTo>
                          <a:pt x="1170" y="2525"/>
                        </a:lnTo>
                        <a:lnTo>
                          <a:pt x="1155" y="2492"/>
                        </a:lnTo>
                        <a:lnTo>
                          <a:pt x="1149" y="2486"/>
                        </a:lnTo>
                        <a:lnTo>
                          <a:pt x="1134" y="2482"/>
                        </a:lnTo>
                        <a:lnTo>
                          <a:pt x="1129" y="2464"/>
                        </a:lnTo>
                        <a:lnTo>
                          <a:pt x="1136" y="2430"/>
                        </a:lnTo>
                        <a:lnTo>
                          <a:pt x="1145" y="2419"/>
                        </a:lnTo>
                        <a:lnTo>
                          <a:pt x="1205" y="2347"/>
                        </a:lnTo>
                        <a:lnTo>
                          <a:pt x="1214" y="2329"/>
                        </a:lnTo>
                        <a:lnTo>
                          <a:pt x="1218" y="2315"/>
                        </a:lnTo>
                        <a:lnTo>
                          <a:pt x="1221" y="2282"/>
                        </a:lnTo>
                        <a:lnTo>
                          <a:pt x="1231" y="2266"/>
                        </a:lnTo>
                        <a:lnTo>
                          <a:pt x="1241" y="2265"/>
                        </a:lnTo>
                        <a:lnTo>
                          <a:pt x="1281" y="2262"/>
                        </a:lnTo>
                        <a:lnTo>
                          <a:pt x="1294" y="2258"/>
                        </a:lnTo>
                        <a:lnTo>
                          <a:pt x="1311" y="2247"/>
                        </a:lnTo>
                        <a:lnTo>
                          <a:pt x="1316" y="2241"/>
                        </a:lnTo>
                        <a:lnTo>
                          <a:pt x="1312" y="2224"/>
                        </a:lnTo>
                        <a:lnTo>
                          <a:pt x="1301" y="2209"/>
                        </a:lnTo>
                        <a:lnTo>
                          <a:pt x="1214" y="2121"/>
                        </a:lnTo>
                        <a:lnTo>
                          <a:pt x="1206" y="2116"/>
                        </a:lnTo>
                        <a:lnTo>
                          <a:pt x="1192" y="2117"/>
                        </a:lnTo>
                        <a:lnTo>
                          <a:pt x="1121" y="2146"/>
                        </a:lnTo>
                        <a:lnTo>
                          <a:pt x="1095" y="2149"/>
                        </a:lnTo>
                        <a:lnTo>
                          <a:pt x="1007" y="2132"/>
                        </a:lnTo>
                        <a:lnTo>
                          <a:pt x="969" y="2139"/>
                        </a:lnTo>
                        <a:lnTo>
                          <a:pt x="952" y="2132"/>
                        </a:lnTo>
                        <a:lnTo>
                          <a:pt x="865" y="2050"/>
                        </a:lnTo>
                        <a:lnTo>
                          <a:pt x="856" y="2037"/>
                        </a:lnTo>
                        <a:lnTo>
                          <a:pt x="850" y="2019"/>
                        </a:lnTo>
                        <a:lnTo>
                          <a:pt x="846" y="1992"/>
                        </a:lnTo>
                        <a:lnTo>
                          <a:pt x="842" y="1947"/>
                        </a:lnTo>
                        <a:lnTo>
                          <a:pt x="835" y="1924"/>
                        </a:lnTo>
                        <a:lnTo>
                          <a:pt x="824" y="1909"/>
                        </a:lnTo>
                        <a:lnTo>
                          <a:pt x="809" y="1902"/>
                        </a:lnTo>
                        <a:lnTo>
                          <a:pt x="719" y="1891"/>
                        </a:lnTo>
                        <a:lnTo>
                          <a:pt x="697" y="1886"/>
                        </a:lnTo>
                        <a:lnTo>
                          <a:pt x="690" y="1881"/>
                        </a:lnTo>
                        <a:lnTo>
                          <a:pt x="592" y="1830"/>
                        </a:lnTo>
                        <a:lnTo>
                          <a:pt x="581" y="1829"/>
                        </a:lnTo>
                        <a:lnTo>
                          <a:pt x="571" y="1832"/>
                        </a:lnTo>
                        <a:lnTo>
                          <a:pt x="562" y="1839"/>
                        </a:lnTo>
                        <a:lnTo>
                          <a:pt x="530" y="1889"/>
                        </a:lnTo>
                        <a:lnTo>
                          <a:pt x="521" y="1894"/>
                        </a:lnTo>
                        <a:lnTo>
                          <a:pt x="514" y="1894"/>
                        </a:lnTo>
                        <a:lnTo>
                          <a:pt x="440" y="1846"/>
                        </a:lnTo>
                        <a:lnTo>
                          <a:pt x="391" y="1781"/>
                        </a:lnTo>
                        <a:lnTo>
                          <a:pt x="337" y="1745"/>
                        </a:lnTo>
                        <a:lnTo>
                          <a:pt x="296" y="1705"/>
                        </a:lnTo>
                        <a:lnTo>
                          <a:pt x="267" y="1687"/>
                        </a:lnTo>
                        <a:lnTo>
                          <a:pt x="251" y="1686"/>
                        </a:lnTo>
                        <a:lnTo>
                          <a:pt x="235" y="1691"/>
                        </a:lnTo>
                        <a:lnTo>
                          <a:pt x="204" y="1721"/>
                        </a:lnTo>
                        <a:lnTo>
                          <a:pt x="186" y="1726"/>
                        </a:lnTo>
                        <a:lnTo>
                          <a:pt x="170" y="1724"/>
                        </a:lnTo>
                        <a:lnTo>
                          <a:pt x="135" y="1702"/>
                        </a:lnTo>
                        <a:lnTo>
                          <a:pt x="66" y="1637"/>
                        </a:lnTo>
                        <a:lnTo>
                          <a:pt x="56" y="1624"/>
                        </a:lnTo>
                        <a:lnTo>
                          <a:pt x="51" y="1609"/>
                        </a:lnTo>
                        <a:lnTo>
                          <a:pt x="49" y="1595"/>
                        </a:lnTo>
                        <a:lnTo>
                          <a:pt x="52" y="1536"/>
                        </a:lnTo>
                        <a:lnTo>
                          <a:pt x="52" y="1522"/>
                        </a:lnTo>
                        <a:lnTo>
                          <a:pt x="44" y="1506"/>
                        </a:lnTo>
                        <a:lnTo>
                          <a:pt x="12" y="1476"/>
                        </a:lnTo>
                        <a:lnTo>
                          <a:pt x="5" y="1462"/>
                        </a:lnTo>
                        <a:lnTo>
                          <a:pt x="0" y="1445"/>
                        </a:lnTo>
                        <a:lnTo>
                          <a:pt x="0" y="1425"/>
                        </a:lnTo>
                        <a:lnTo>
                          <a:pt x="39" y="1271"/>
                        </a:lnTo>
                        <a:lnTo>
                          <a:pt x="41" y="1219"/>
                        </a:lnTo>
                        <a:lnTo>
                          <a:pt x="36" y="1172"/>
                        </a:lnTo>
                        <a:lnTo>
                          <a:pt x="9" y="1072"/>
                        </a:lnTo>
                        <a:lnTo>
                          <a:pt x="12" y="1061"/>
                        </a:lnTo>
                        <a:lnTo>
                          <a:pt x="24" y="1055"/>
                        </a:lnTo>
                        <a:lnTo>
                          <a:pt x="89" y="1035"/>
                        </a:lnTo>
                        <a:lnTo>
                          <a:pt x="101" y="1026"/>
                        </a:lnTo>
                        <a:lnTo>
                          <a:pt x="109" y="1014"/>
                        </a:lnTo>
                        <a:lnTo>
                          <a:pt x="109" y="1000"/>
                        </a:lnTo>
                        <a:lnTo>
                          <a:pt x="104" y="986"/>
                        </a:lnTo>
                        <a:lnTo>
                          <a:pt x="96" y="973"/>
                        </a:lnTo>
                        <a:lnTo>
                          <a:pt x="70" y="945"/>
                        </a:lnTo>
                        <a:lnTo>
                          <a:pt x="85" y="938"/>
                        </a:lnTo>
                        <a:lnTo>
                          <a:pt x="106" y="920"/>
                        </a:lnTo>
                        <a:lnTo>
                          <a:pt x="114" y="906"/>
                        </a:lnTo>
                        <a:lnTo>
                          <a:pt x="122" y="883"/>
                        </a:lnTo>
                        <a:lnTo>
                          <a:pt x="134" y="866"/>
                        </a:lnTo>
                        <a:lnTo>
                          <a:pt x="169" y="847"/>
                        </a:lnTo>
                        <a:lnTo>
                          <a:pt x="176" y="833"/>
                        </a:lnTo>
                        <a:lnTo>
                          <a:pt x="170" y="811"/>
                        </a:lnTo>
                        <a:lnTo>
                          <a:pt x="171" y="803"/>
                        </a:lnTo>
                        <a:lnTo>
                          <a:pt x="180" y="791"/>
                        </a:lnTo>
                        <a:lnTo>
                          <a:pt x="189" y="790"/>
                        </a:lnTo>
                        <a:lnTo>
                          <a:pt x="204" y="791"/>
                        </a:lnTo>
                        <a:lnTo>
                          <a:pt x="276" y="822"/>
                        </a:lnTo>
                        <a:lnTo>
                          <a:pt x="296" y="823"/>
                        </a:lnTo>
                        <a:lnTo>
                          <a:pt x="321" y="821"/>
                        </a:lnTo>
                        <a:lnTo>
                          <a:pt x="365" y="807"/>
                        </a:lnTo>
                        <a:lnTo>
                          <a:pt x="419" y="808"/>
                        </a:lnTo>
                        <a:lnTo>
                          <a:pt x="450" y="822"/>
                        </a:lnTo>
                        <a:lnTo>
                          <a:pt x="502" y="813"/>
                        </a:lnTo>
                        <a:lnTo>
                          <a:pt x="646" y="743"/>
                        </a:lnTo>
                        <a:lnTo>
                          <a:pt x="651" y="710"/>
                        </a:lnTo>
                        <a:lnTo>
                          <a:pt x="646" y="678"/>
                        </a:lnTo>
                        <a:lnTo>
                          <a:pt x="637" y="653"/>
                        </a:lnTo>
                        <a:lnTo>
                          <a:pt x="627" y="637"/>
                        </a:lnTo>
                        <a:lnTo>
                          <a:pt x="617" y="626"/>
                        </a:lnTo>
                        <a:lnTo>
                          <a:pt x="534" y="563"/>
                        </a:lnTo>
                        <a:lnTo>
                          <a:pt x="525" y="552"/>
                        </a:lnTo>
                        <a:lnTo>
                          <a:pt x="522" y="540"/>
                        </a:lnTo>
                        <a:lnTo>
                          <a:pt x="527" y="518"/>
                        </a:lnTo>
                        <a:lnTo>
                          <a:pt x="536" y="503"/>
                        </a:lnTo>
                        <a:lnTo>
                          <a:pt x="579" y="455"/>
                        </a:lnTo>
                        <a:lnTo>
                          <a:pt x="594" y="432"/>
                        </a:lnTo>
                        <a:lnTo>
                          <a:pt x="599" y="421"/>
                        </a:lnTo>
                        <a:lnTo>
                          <a:pt x="604" y="397"/>
                        </a:lnTo>
                        <a:lnTo>
                          <a:pt x="614" y="375"/>
                        </a:lnTo>
                        <a:lnTo>
                          <a:pt x="629" y="359"/>
                        </a:lnTo>
                        <a:lnTo>
                          <a:pt x="644" y="354"/>
                        </a:lnTo>
                        <a:lnTo>
                          <a:pt x="654" y="355"/>
                        </a:lnTo>
                        <a:lnTo>
                          <a:pt x="677" y="370"/>
                        </a:lnTo>
                        <a:lnTo>
                          <a:pt x="687" y="372"/>
                        </a:lnTo>
                        <a:lnTo>
                          <a:pt x="702" y="370"/>
                        </a:lnTo>
                        <a:lnTo>
                          <a:pt x="777" y="325"/>
                        </a:lnTo>
                        <a:lnTo>
                          <a:pt x="842" y="300"/>
                        </a:lnTo>
                        <a:lnTo>
                          <a:pt x="907" y="241"/>
                        </a:lnTo>
                        <a:lnTo>
                          <a:pt x="919" y="235"/>
                        </a:lnTo>
                        <a:lnTo>
                          <a:pt x="966" y="242"/>
                        </a:lnTo>
                        <a:lnTo>
                          <a:pt x="991" y="237"/>
                        </a:lnTo>
                        <a:lnTo>
                          <a:pt x="1006" y="230"/>
                        </a:lnTo>
                        <a:lnTo>
                          <a:pt x="1017" y="220"/>
                        </a:lnTo>
                        <a:lnTo>
                          <a:pt x="1024" y="210"/>
                        </a:lnTo>
                        <a:lnTo>
                          <a:pt x="1029" y="197"/>
                        </a:lnTo>
                        <a:lnTo>
                          <a:pt x="1036" y="151"/>
                        </a:lnTo>
                        <a:lnTo>
                          <a:pt x="1042" y="129"/>
                        </a:lnTo>
                        <a:lnTo>
                          <a:pt x="1057" y="101"/>
                        </a:lnTo>
                        <a:lnTo>
                          <a:pt x="1077" y="82"/>
                        </a:lnTo>
                        <a:lnTo>
                          <a:pt x="1096" y="76"/>
                        </a:lnTo>
                        <a:lnTo>
                          <a:pt x="1104" y="69"/>
                        </a:lnTo>
                        <a:lnTo>
                          <a:pt x="1106" y="54"/>
                        </a:lnTo>
                        <a:lnTo>
                          <a:pt x="1105" y="24"/>
                        </a:lnTo>
                        <a:lnTo>
                          <a:pt x="1107" y="0"/>
                        </a:lnTo>
                        <a:lnTo>
                          <a:pt x="1187" y="54"/>
                        </a:lnTo>
                        <a:lnTo>
                          <a:pt x="1222" y="95"/>
                        </a:lnTo>
                        <a:lnTo>
                          <a:pt x="1270" y="172"/>
                        </a:lnTo>
                        <a:lnTo>
                          <a:pt x="1290" y="195"/>
                        </a:lnTo>
                        <a:lnTo>
                          <a:pt x="1300" y="200"/>
                        </a:lnTo>
                        <a:lnTo>
                          <a:pt x="1441" y="189"/>
                        </a:lnTo>
                        <a:lnTo>
                          <a:pt x="1474" y="197"/>
                        </a:lnTo>
                        <a:lnTo>
                          <a:pt x="1557" y="264"/>
                        </a:lnTo>
                        <a:lnTo>
                          <a:pt x="1606" y="276"/>
                        </a:lnTo>
                        <a:lnTo>
                          <a:pt x="1632" y="292"/>
                        </a:lnTo>
                        <a:lnTo>
                          <a:pt x="1642" y="302"/>
                        </a:lnTo>
                        <a:lnTo>
                          <a:pt x="1649" y="316"/>
                        </a:lnTo>
                        <a:lnTo>
                          <a:pt x="1652" y="345"/>
                        </a:lnTo>
                        <a:lnTo>
                          <a:pt x="1657" y="355"/>
                        </a:lnTo>
                        <a:lnTo>
                          <a:pt x="1665" y="361"/>
                        </a:lnTo>
                        <a:lnTo>
                          <a:pt x="1712" y="385"/>
                        </a:lnTo>
                        <a:lnTo>
                          <a:pt x="1742" y="409"/>
                        </a:lnTo>
                        <a:lnTo>
                          <a:pt x="1767" y="444"/>
                        </a:lnTo>
                        <a:lnTo>
                          <a:pt x="1796" y="502"/>
                        </a:lnTo>
                        <a:lnTo>
                          <a:pt x="1844" y="515"/>
                        </a:lnTo>
                        <a:lnTo>
                          <a:pt x="1856" y="509"/>
                        </a:lnTo>
                        <a:lnTo>
                          <a:pt x="1872" y="506"/>
                        </a:lnTo>
                        <a:lnTo>
                          <a:pt x="1897" y="517"/>
                        </a:lnTo>
                        <a:lnTo>
                          <a:pt x="1917" y="524"/>
                        </a:lnTo>
                        <a:lnTo>
                          <a:pt x="1935" y="524"/>
                        </a:lnTo>
                        <a:lnTo>
                          <a:pt x="1954" y="511"/>
                        </a:lnTo>
                        <a:lnTo>
                          <a:pt x="1981" y="480"/>
                        </a:lnTo>
                        <a:lnTo>
                          <a:pt x="1990" y="475"/>
                        </a:lnTo>
                        <a:lnTo>
                          <a:pt x="2011" y="467"/>
                        </a:lnTo>
                        <a:lnTo>
                          <a:pt x="2020" y="460"/>
                        </a:lnTo>
                        <a:lnTo>
                          <a:pt x="2026" y="449"/>
                        </a:lnTo>
                        <a:lnTo>
                          <a:pt x="2035" y="426"/>
                        </a:lnTo>
                        <a:lnTo>
                          <a:pt x="2047" y="411"/>
                        </a:lnTo>
                        <a:lnTo>
                          <a:pt x="2059" y="412"/>
                        </a:lnTo>
                        <a:lnTo>
                          <a:pt x="2071" y="417"/>
                        </a:lnTo>
                        <a:lnTo>
                          <a:pt x="2096" y="435"/>
                        </a:lnTo>
                        <a:lnTo>
                          <a:pt x="2121" y="447"/>
                        </a:lnTo>
                        <a:lnTo>
                          <a:pt x="2149" y="457"/>
                        </a:lnTo>
                        <a:lnTo>
                          <a:pt x="2191" y="466"/>
                        </a:lnTo>
                        <a:lnTo>
                          <a:pt x="2212" y="477"/>
                        </a:lnTo>
                        <a:lnTo>
                          <a:pt x="2225" y="491"/>
                        </a:lnTo>
                        <a:lnTo>
                          <a:pt x="2236" y="519"/>
                        </a:lnTo>
                        <a:lnTo>
                          <a:pt x="2250" y="527"/>
                        </a:lnTo>
                        <a:lnTo>
                          <a:pt x="2270" y="532"/>
                        </a:lnTo>
                        <a:lnTo>
                          <a:pt x="2310" y="529"/>
                        </a:lnTo>
                        <a:lnTo>
                          <a:pt x="2357" y="531"/>
                        </a:lnTo>
                        <a:lnTo>
                          <a:pt x="2395" y="542"/>
                        </a:lnTo>
                        <a:lnTo>
                          <a:pt x="2450" y="570"/>
                        </a:lnTo>
                        <a:lnTo>
                          <a:pt x="2519" y="616"/>
                        </a:lnTo>
                        <a:lnTo>
                          <a:pt x="2542" y="636"/>
                        </a:lnTo>
                        <a:lnTo>
                          <a:pt x="2560" y="656"/>
                        </a:lnTo>
                        <a:lnTo>
                          <a:pt x="2571" y="677"/>
                        </a:lnTo>
                        <a:lnTo>
                          <a:pt x="2584" y="696"/>
                        </a:lnTo>
                        <a:lnTo>
                          <a:pt x="2604" y="711"/>
                        </a:lnTo>
                        <a:lnTo>
                          <a:pt x="2669" y="735"/>
                        </a:lnTo>
                        <a:lnTo>
                          <a:pt x="2745" y="783"/>
                        </a:lnTo>
                        <a:lnTo>
                          <a:pt x="2780" y="795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0" name="Středočeský" descr="{&quot;Key&quot;:&quot;středočeský&quot;,&quot;Name&quot;:&quot;Středoče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BB8631F9-623B-27D5-D3DD-42BB0A86AAE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244" y="1635"/>
                    <a:ext cx="1691" cy="1396"/>
                  </a:xfrm>
                  <a:custGeom>
                    <a:avLst/>
                    <a:gdLst>
                      <a:gd name="T0" fmla="*/ 3194 w 3876"/>
                      <a:gd name="T1" fmla="*/ 405 h 3201"/>
                      <a:gd name="T2" fmla="*/ 3160 w 3876"/>
                      <a:gd name="T3" fmla="*/ 740 h 3201"/>
                      <a:gd name="T4" fmla="*/ 3318 w 3876"/>
                      <a:gd name="T5" fmla="*/ 909 h 3201"/>
                      <a:gd name="T6" fmla="*/ 3566 w 3876"/>
                      <a:gd name="T7" fmla="*/ 927 h 3201"/>
                      <a:gd name="T8" fmla="*/ 3648 w 3876"/>
                      <a:gd name="T9" fmla="*/ 1215 h 3201"/>
                      <a:gd name="T10" fmla="*/ 3671 w 3876"/>
                      <a:gd name="T11" fmla="*/ 1372 h 3201"/>
                      <a:gd name="T12" fmla="*/ 3671 w 3876"/>
                      <a:gd name="T13" fmla="*/ 1566 h 3201"/>
                      <a:gd name="T14" fmla="*/ 3710 w 3876"/>
                      <a:gd name="T15" fmla="*/ 1741 h 3201"/>
                      <a:gd name="T16" fmla="*/ 3865 w 3876"/>
                      <a:gd name="T17" fmla="*/ 1919 h 3201"/>
                      <a:gd name="T18" fmla="*/ 3834 w 3876"/>
                      <a:gd name="T19" fmla="*/ 2169 h 3201"/>
                      <a:gd name="T20" fmla="*/ 3736 w 3876"/>
                      <a:gd name="T21" fmla="*/ 2330 h 3201"/>
                      <a:gd name="T22" fmla="*/ 3408 w 3876"/>
                      <a:gd name="T23" fmla="*/ 2470 h 3201"/>
                      <a:gd name="T24" fmla="*/ 3266 w 3876"/>
                      <a:gd name="T25" fmla="*/ 2603 h 3201"/>
                      <a:gd name="T26" fmla="*/ 3381 w 3876"/>
                      <a:gd name="T27" fmla="*/ 2810 h 3201"/>
                      <a:gd name="T28" fmla="*/ 2934 w 3876"/>
                      <a:gd name="T29" fmla="*/ 2891 h 3201"/>
                      <a:gd name="T30" fmla="*/ 2844 w 3876"/>
                      <a:gd name="T31" fmla="*/ 3006 h 3201"/>
                      <a:gd name="T32" fmla="*/ 2718 w 3876"/>
                      <a:gd name="T33" fmla="*/ 2961 h 3201"/>
                      <a:gd name="T34" fmla="*/ 2543 w 3876"/>
                      <a:gd name="T35" fmla="*/ 2877 h 3201"/>
                      <a:gd name="T36" fmla="*/ 2436 w 3876"/>
                      <a:gd name="T37" fmla="*/ 3021 h 3201"/>
                      <a:gd name="T38" fmla="*/ 2180 w 3876"/>
                      <a:gd name="T39" fmla="*/ 3106 h 3201"/>
                      <a:gd name="T40" fmla="*/ 1740 w 3876"/>
                      <a:gd name="T41" fmla="*/ 3117 h 3201"/>
                      <a:gd name="T42" fmla="*/ 1623 w 3876"/>
                      <a:gd name="T43" fmla="*/ 3035 h 3201"/>
                      <a:gd name="T44" fmla="*/ 1290 w 3876"/>
                      <a:gd name="T45" fmla="*/ 3091 h 3201"/>
                      <a:gd name="T46" fmla="*/ 1120 w 3876"/>
                      <a:gd name="T47" fmla="*/ 3070 h 3201"/>
                      <a:gd name="T48" fmla="*/ 876 w 3876"/>
                      <a:gd name="T49" fmla="*/ 3174 h 3201"/>
                      <a:gd name="T50" fmla="*/ 660 w 3876"/>
                      <a:gd name="T51" fmla="*/ 3132 h 3201"/>
                      <a:gd name="T52" fmla="*/ 619 w 3876"/>
                      <a:gd name="T53" fmla="*/ 2897 h 3201"/>
                      <a:gd name="T54" fmla="*/ 543 w 3876"/>
                      <a:gd name="T55" fmla="*/ 2783 h 3201"/>
                      <a:gd name="T56" fmla="*/ 559 w 3876"/>
                      <a:gd name="T57" fmla="*/ 2690 h 3201"/>
                      <a:gd name="T58" fmla="*/ 673 w 3876"/>
                      <a:gd name="T59" fmla="*/ 2561 h 3201"/>
                      <a:gd name="T60" fmla="*/ 696 w 3876"/>
                      <a:gd name="T61" fmla="*/ 2422 h 3201"/>
                      <a:gd name="T62" fmla="*/ 746 w 3876"/>
                      <a:gd name="T63" fmla="*/ 2141 h 3201"/>
                      <a:gd name="T64" fmla="*/ 766 w 3876"/>
                      <a:gd name="T65" fmla="*/ 1977 h 3201"/>
                      <a:gd name="T66" fmla="*/ 496 w 3876"/>
                      <a:gd name="T67" fmla="*/ 1780 h 3201"/>
                      <a:gd name="T68" fmla="*/ 291 w 3876"/>
                      <a:gd name="T69" fmla="*/ 1743 h 3201"/>
                      <a:gd name="T70" fmla="*/ 9 w 3876"/>
                      <a:gd name="T71" fmla="*/ 1648 h 3201"/>
                      <a:gd name="T72" fmla="*/ 71 w 3876"/>
                      <a:gd name="T73" fmla="*/ 1445 h 3201"/>
                      <a:gd name="T74" fmla="*/ 359 w 3876"/>
                      <a:gd name="T75" fmla="*/ 1200 h 3201"/>
                      <a:gd name="T76" fmla="*/ 583 w 3876"/>
                      <a:gd name="T77" fmla="*/ 1115 h 3201"/>
                      <a:gd name="T78" fmla="*/ 881 w 3876"/>
                      <a:gd name="T79" fmla="*/ 983 h 3201"/>
                      <a:gd name="T80" fmla="*/ 1079 w 3876"/>
                      <a:gd name="T81" fmla="*/ 818 h 3201"/>
                      <a:gd name="T82" fmla="*/ 1475 w 3876"/>
                      <a:gd name="T83" fmla="*/ 783 h 3201"/>
                      <a:gd name="T84" fmla="*/ 1741 w 3876"/>
                      <a:gd name="T85" fmla="*/ 736 h 3201"/>
                      <a:gd name="T86" fmla="*/ 1755 w 3876"/>
                      <a:gd name="T87" fmla="*/ 522 h 3201"/>
                      <a:gd name="T88" fmla="*/ 1930 w 3876"/>
                      <a:gd name="T89" fmla="*/ 446 h 3201"/>
                      <a:gd name="T90" fmla="*/ 2076 w 3876"/>
                      <a:gd name="T91" fmla="*/ 308 h 3201"/>
                      <a:gd name="T92" fmla="*/ 2231 w 3876"/>
                      <a:gd name="T93" fmla="*/ 376 h 3201"/>
                      <a:gd name="T94" fmla="*/ 2650 w 3876"/>
                      <a:gd name="T95" fmla="*/ 160 h 3201"/>
                      <a:gd name="T96" fmla="*/ 2804 w 3876"/>
                      <a:gd name="T97" fmla="*/ 12 h 3201"/>
                      <a:gd name="T98" fmla="*/ 2963 w 3876"/>
                      <a:gd name="T99" fmla="*/ 30 h 3201"/>
                      <a:gd name="T100" fmla="*/ 2256 w 3876"/>
                      <a:gd name="T101" fmla="*/ 1390 h 3201"/>
                      <a:gd name="T102" fmla="*/ 2090 w 3876"/>
                      <a:gd name="T103" fmla="*/ 1261 h 3201"/>
                      <a:gd name="T104" fmla="*/ 1696 w 3876"/>
                      <a:gd name="T105" fmla="*/ 1416 h 3201"/>
                      <a:gd name="T106" fmla="*/ 1532 w 3876"/>
                      <a:gd name="T107" fmla="*/ 1498 h 3201"/>
                      <a:gd name="T108" fmla="*/ 1627 w 3876"/>
                      <a:gd name="T109" fmla="*/ 1723 h 3201"/>
                      <a:gd name="T110" fmla="*/ 2011 w 3876"/>
                      <a:gd name="T111" fmla="*/ 1802 h 3201"/>
                      <a:gd name="T112" fmla="*/ 2249 w 3876"/>
                      <a:gd name="T113" fmla="*/ 1753 h 3201"/>
                      <a:gd name="T114" fmla="*/ 2282 w 3876"/>
                      <a:gd name="T115" fmla="*/ 1591 h 3201"/>
                      <a:gd name="T116" fmla="*/ 2287 w 3876"/>
                      <a:gd name="T117" fmla="*/ 1435 h 3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3876" h="3201">
                        <a:moveTo>
                          <a:pt x="3184" y="257"/>
                        </a:moveTo>
                        <a:lnTo>
                          <a:pt x="3188" y="269"/>
                        </a:lnTo>
                        <a:lnTo>
                          <a:pt x="3186" y="280"/>
                        </a:lnTo>
                        <a:lnTo>
                          <a:pt x="3174" y="300"/>
                        </a:lnTo>
                        <a:lnTo>
                          <a:pt x="3168" y="315"/>
                        </a:lnTo>
                        <a:lnTo>
                          <a:pt x="3166" y="339"/>
                        </a:lnTo>
                        <a:lnTo>
                          <a:pt x="3171" y="356"/>
                        </a:lnTo>
                        <a:lnTo>
                          <a:pt x="3184" y="379"/>
                        </a:lnTo>
                        <a:lnTo>
                          <a:pt x="3194" y="405"/>
                        </a:lnTo>
                        <a:lnTo>
                          <a:pt x="3210" y="521"/>
                        </a:lnTo>
                        <a:lnTo>
                          <a:pt x="3211" y="550"/>
                        </a:lnTo>
                        <a:lnTo>
                          <a:pt x="3209" y="574"/>
                        </a:lnTo>
                        <a:lnTo>
                          <a:pt x="3203" y="590"/>
                        </a:lnTo>
                        <a:lnTo>
                          <a:pt x="3186" y="619"/>
                        </a:lnTo>
                        <a:lnTo>
                          <a:pt x="3171" y="641"/>
                        </a:lnTo>
                        <a:lnTo>
                          <a:pt x="3160" y="679"/>
                        </a:lnTo>
                        <a:lnTo>
                          <a:pt x="3158" y="721"/>
                        </a:lnTo>
                        <a:lnTo>
                          <a:pt x="3160" y="740"/>
                        </a:lnTo>
                        <a:lnTo>
                          <a:pt x="3164" y="751"/>
                        </a:lnTo>
                        <a:lnTo>
                          <a:pt x="3169" y="754"/>
                        </a:lnTo>
                        <a:lnTo>
                          <a:pt x="3260" y="794"/>
                        </a:lnTo>
                        <a:lnTo>
                          <a:pt x="3271" y="801"/>
                        </a:lnTo>
                        <a:lnTo>
                          <a:pt x="3282" y="812"/>
                        </a:lnTo>
                        <a:lnTo>
                          <a:pt x="3299" y="837"/>
                        </a:lnTo>
                        <a:lnTo>
                          <a:pt x="3306" y="861"/>
                        </a:lnTo>
                        <a:lnTo>
                          <a:pt x="3311" y="894"/>
                        </a:lnTo>
                        <a:lnTo>
                          <a:pt x="3318" y="909"/>
                        </a:lnTo>
                        <a:lnTo>
                          <a:pt x="3328" y="920"/>
                        </a:lnTo>
                        <a:lnTo>
                          <a:pt x="3338" y="925"/>
                        </a:lnTo>
                        <a:lnTo>
                          <a:pt x="3364" y="925"/>
                        </a:lnTo>
                        <a:lnTo>
                          <a:pt x="3399" y="917"/>
                        </a:lnTo>
                        <a:lnTo>
                          <a:pt x="3415" y="919"/>
                        </a:lnTo>
                        <a:lnTo>
                          <a:pt x="3465" y="930"/>
                        </a:lnTo>
                        <a:lnTo>
                          <a:pt x="3541" y="921"/>
                        </a:lnTo>
                        <a:lnTo>
                          <a:pt x="3555" y="921"/>
                        </a:lnTo>
                        <a:lnTo>
                          <a:pt x="3566" y="927"/>
                        </a:lnTo>
                        <a:lnTo>
                          <a:pt x="3583" y="941"/>
                        </a:lnTo>
                        <a:lnTo>
                          <a:pt x="3590" y="957"/>
                        </a:lnTo>
                        <a:lnTo>
                          <a:pt x="3596" y="974"/>
                        </a:lnTo>
                        <a:lnTo>
                          <a:pt x="3603" y="1024"/>
                        </a:lnTo>
                        <a:lnTo>
                          <a:pt x="3603" y="1062"/>
                        </a:lnTo>
                        <a:lnTo>
                          <a:pt x="3608" y="1086"/>
                        </a:lnTo>
                        <a:lnTo>
                          <a:pt x="3615" y="1116"/>
                        </a:lnTo>
                        <a:lnTo>
                          <a:pt x="3644" y="1199"/>
                        </a:lnTo>
                        <a:lnTo>
                          <a:pt x="3648" y="1215"/>
                        </a:lnTo>
                        <a:lnTo>
                          <a:pt x="3641" y="1234"/>
                        </a:lnTo>
                        <a:lnTo>
                          <a:pt x="3634" y="1246"/>
                        </a:lnTo>
                        <a:lnTo>
                          <a:pt x="3604" y="1277"/>
                        </a:lnTo>
                        <a:lnTo>
                          <a:pt x="3601" y="1286"/>
                        </a:lnTo>
                        <a:lnTo>
                          <a:pt x="3600" y="1300"/>
                        </a:lnTo>
                        <a:lnTo>
                          <a:pt x="3610" y="1316"/>
                        </a:lnTo>
                        <a:lnTo>
                          <a:pt x="3640" y="1336"/>
                        </a:lnTo>
                        <a:lnTo>
                          <a:pt x="3654" y="1351"/>
                        </a:lnTo>
                        <a:lnTo>
                          <a:pt x="3671" y="1372"/>
                        </a:lnTo>
                        <a:lnTo>
                          <a:pt x="3695" y="1409"/>
                        </a:lnTo>
                        <a:lnTo>
                          <a:pt x="3703" y="1426"/>
                        </a:lnTo>
                        <a:lnTo>
                          <a:pt x="3704" y="1439"/>
                        </a:lnTo>
                        <a:lnTo>
                          <a:pt x="3699" y="1446"/>
                        </a:lnTo>
                        <a:lnTo>
                          <a:pt x="3669" y="1476"/>
                        </a:lnTo>
                        <a:lnTo>
                          <a:pt x="3661" y="1494"/>
                        </a:lnTo>
                        <a:lnTo>
                          <a:pt x="3661" y="1509"/>
                        </a:lnTo>
                        <a:lnTo>
                          <a:pt x="3671" y="1556"/>
                        </a:lnTo>
                        <a:lnTo>
                          <a:pt x="3671" y="1566"/>
                        </a:lnTo>
                        <a:lnTo>
                          <a:pt x="3668" y="1606"/>
                        </a:lnTo>
                        <a:lnTo>
                          <a:pt x="3650" y="1605"/>
                        </a:lnTo>
                        <a:lnTo>
                          <a:pt x="3613" y="1615"/>
                        </a:lnTo>
                        <a:lnTo>
                          <a:pt x="3579" y="1631"/>
                        </a:lnTo>
                        <a:lnTo>
                          <a:pt x="3570" y="1645"/>
                        </a:lnTo>
                        <a:lnTo>
                          <a:pt x="3591" y="1679"/>
                        </a:lnTo>
                        <a:lnTo>
                          <a:pt x="3605" y="1692"/>
                        </a:lnTo>
                        <a:lnTo>
                          <a:pt x="3648" y="1721"/>
                        </a:lnTo>
                        <a:lnTo>
                          <a:pt x="3710" y="1741"/>
                        </a:lnTo>
                        <a:lnTo>
                          <a:pt x="3724" y="1750"/>
                        </a:lnTo>
                        <a:lnTo>
                          <a:pt x="3791" y="1815"/>
                        </a:lnTo>
                        <a:lnTo>
                          <a:pt x="3805" y="1826"/>
                        </a:lnTo>
                        <a:lnTo>
                          <a:pt x="3830" y="1832"/>
                        </a:lnTo>
                        <a:lnTo>
                          <a:pt x="3843" y="1839"/>
                        </a:lnTo>
                        <a:lnTo>
                          <a:pt x="3856" y="1850"/>
                        </a:lnTo>
                        <a:lnTo>
                          <a:pt x="3874" y="1871"/>
                        </a:lnTo>
                        <a:lnTo>
                          <a:pt x="3876" y="1885"/>
                        </a:lnTo>
                        <a:lnTo>
                          <a:pt x="3865" y="1919"/>
                        </a:lnTo>
                        <a:lnTo>
                          <a:pt x="3864" y="1930"/>
                        </a:lnTo>
                        <a:lnTo>
                          <a:pt x="3863" y="1987"/>
                        </a:lnTo>
                        <a:lnTo>
                          <a:pt x="3856" y="2020"/>
                        </a:lnTo>
                        <a:lnTo>
                          <a:pt x="3848" y="2047"/>
                        </a:lnTo>
                        <a:lnTo>
                          <a:pt x="3840" y="2077"/>
                        </a:lnTo>
                        <a:lnTo>
                          <a:pt x="3838" y="2100"/>
                        </a:lnTo>
                        <a:lnTo>
                          <a:pt x="3835" y="2124"/>
                        </a:lnTo>
                        <a:lnTo>
                          <a:pt x="3836" y="2154"/>
                        </a:lnTo>
                        <a:lnTo>
                          <a:pt x="3834" y="2169"/>
                        </a:lnTo>
                        <a:lnTo>
                          <a:pt x="3826" y="2176"/>
                        </a:lnTo>
                        <a:lnTo>
                          <a:pt x="3808" y="2182"/>
                        </a:lnTo>
                        <a:lnTo>
                          <a:pt x="3788" y="2201"/>
                        </a:lnTo>
                        <a:lnTo>
                          <a:pt x="3773" y="2229"/>
                        </a:lnTo>
                        <a:lnTo>
                          <a:pt x="3766" y="2251"/>
                        </a:lnTo>
                        <a:lnTo>
                          <a:pt x="3759" y="2297"/>
                        </a:lnTo>
                        <a:lnTo>
                          <a:pt x="3754" y="2310"/>
                        </a:lnTo>
                        <a:lnTo>
                          <a:pt x="3748" y="2320"/>
                        </a:lnTo>
                        <a:lnTo>
                          <a:pt x="3736" y="2330"/>
                        </a:lnTo>
                        <a:lnTo>
                          <a:pt x="3721" y="2337"/>
                        </a:lnTo>
                        <a:lnTo>
                          <a:pt x="3696" y="2342"/>
                        </a:lnTo>
                        <a:lnTo>
                          <a:pt x="3649" y="2335"/>
                        </a:lnTo>
                        <a:lnTo>
                          <a:pt x="3638" y="2341"/>
                        </a:lnTo>
                        <a:lnTo>
                          <a:pt x="3573" y="2400"/>
                        </a:lnTo>
                        <a:lnTo>
                          <a:pt x="3508" y="2425"/>
                        </a:lnTo>
                        <a:lnTo>
                          <a:pt x="3433" y="2470"/>
                        </a:lnTo>
                        <a:lnTo>
                          <a:pt x="3418" y="2472"/>
                        </a:lnTo>
                        <a:lnTo>
                          <a:pt x="3408" y="2470"/>
                        </a:lnTo>
                        <a:lnTo>
                          <a:pt x="3384" y="2455"/>
                        </a:lnTo>
                        <a:lnTo>
                          <a:pt x="3374" y="2454"/>
                        </a:lnTo>
                        <a:lnTo>
                          <a:pt x="3359" y="2459"/>
                        </a:lnTo>
                        <a:lnTo>
                          <a:pt x="3344" y="2475"/>
                        </a:lnTo>
                        <a:lnTo>
                          <a:pt x="3334" y="2497"/>
                        </a:lnTo>
                        <a:lnTo>
                          <a:pt x="3329" y="2521"/>
                        </a:lnTo>
                        <a:lnTo>
                          <a:pt x="3324" y="2532"/>
                        </a:lnTo>
                        <a:lnTo>
                          <a:pt x="3309" y="2555"/>
                        </a:lnTo>
                        <a:lnTo>
                          <a:pt x="3266" y="2603"/>
                        </a:lnTo>
                        <a:lnTo>
                          <a:pt x="3258" y="2618"/>
                        </a:lnTo>
                        <a:lnTo>
                          <a:pt x="3253" y="2640"/>
                        </a:lnTo>
                        <a:lnTo>
                          <a:pt x="3255" y="2652"/>
                        </a:lnTo>
                        <a:lnTo>
                          <a:pt x="3264" y="2663"/>
                        </a:lnTo>
                        <a:lnTo>
                          <a:pt x="3348" y="2726"/>
                        </a:lnTo>
                        <a:lnTo>
                          <a:pt x="3358" y="2737"/>
                        </a:lnTo>
                        <a:lnTo>
                          <a:pt x="3368" y="2753"/>
                        </a:lnTo>
                        <a:lnTo>
                          <a:pt x="3376" y="2778"/>
                        </a:lnTo>
                        <a:lnTo>
                          <a:pt x="3381" y="2810"/>
                        </a:lnTo>
                        <a:lnTo>
                          <a:pt x="3376" y="2843"/>
                        </a:lnTo>
                        <a:lnTo>
                          <a:pt x="3233" y="2913"/>
                        </a:lnTo>
                        <a:lnTo>
                          <a:pt x="3180" y="2922"/>
                        </a:lnTo>
                        <a:lnTo>
                          <a:pt x="3149" y="2908"/>
                        </a:lnTo>
                        <a:lnTo>
                          <a:pt x="3095" y="2907"/>
                        </a:lnTo>
                        <a:lnTo>
                          <a:pt x="3051" y="2921"/>
                        </a:lnTo>
                        <a:lnTo>
                          <a:pt x="3026" y="2923"/>
                        </a:lnTo>
                        <a:lnTo>
                          <a:pt x="3006" y="2922"/>
                        </a:lnTo>
                        <a:lnTo>
                          <a:pt x="2934" y="2891"/>
                        </a:lnTo>
                        <a:lnTo>
                          <a:pt x="2919" y="2890"/>
                        </a:lnTo>
                        <a:lnTo>
                          <a:pt x="2910" y="2891"/>
                        </a:lnTo>
                        <a:lnTo>
                          <a:pt x="2901" y="2903"/>
                        </a:lnTo>
                        <a:lnTo>
                          <a:pt x="2900" y="2911"/>
                        </a:lnTo>
                        <a:lnTo>
                          <a:pt x="2906" y="2933"/>
                        </a:lnTo>
                        <a:lnTo>
                          <a:pt x="2899" y="2947"/>
                        </a:lnTo>
                        <a:lnTo>
                          <a:pt x="2864" y="2966"/>
                        </a:lnTo>
                        <a:lnTo>
                          <a:pt x="2853" y="2983"/>
                        </a:lnTo>
                        <a:lnTo>
                          <a:pt x="2844" y="3006"/>
                        </a:lnTo>
                        <a:lnTo>
                          <a:pt x="2836" y="3020"/>
                        </a:lnTo>
                        <a:lnTo>
                          <a:pt x="2815" y="3038"/>
                        </a:lnTo>
                        <a:lnTo>
                          <a:pt x="2800" y="3045"/>
                        </a:lnTo>
                        <a:lnTo>
                          <a:pt x="2788" y="3047"/>
                        </a:lnTo>
                        <a:lnTo>
                          <a:pt x="2771" y="3038"/>
                        </a:lnTo>
                        <a:lnTo>
                          <a:pt x="2753" y="3020"/>
                        </a:lnTo>
                        <a:lnTo>
                          <a:pt x="2745" y="3008"/>
                        </a:lnTo>
                        <a:lnTo>
                          <a:pt x="2729" y="2969"/>
                        </a:lnTo>
                        <a:lnTo>
                          <a:pt x="2718" y="2961"/>
                        </a:lnTo>
                        <a:lnTo>
                          <a:pt x="2695" y="2952"/>
                        </a:lnTo>
                        <a:lnTo>
                          <a:pt x="2659" y="2960"/>
                        </a:lnTo>
                        <a:lnTo>
                          <a:pt x="2640" y="2957"/>
                        </a:lnTo>
                        <a:lnTo>
                          <a:pt x="2631" y="2951"/>
                        </a:lnTo>
                        <a:lnTo>
                          <a:pt x="2629" y="2926"/>
                        </a:lnTo>
                        <a:lnTo>
                          <a:pt x="2623" y="2915"/>
                        </a:lnTo>
                        <a:lnTo>
                          <a:pt x="2613" y="2906"/>
                        </a:lnTo>
                        <a:lnTo>
                          <a:pt x="2559" y="2890"/>
                        </a:lnTo>
                        <a:lnTo>
                          <a:pt x="2543" y="2877"/>
                        </a:lnTo>
                        <a:lnTo>
                          <a:pt x="2529" y="2860"/>
                        </a:lnTo>
                        <a:lnTo>
                          <a:pt x="2519" y="2849"/>
                        </a:lnTo>
                        <a:lnTo>
                          <a:pt x="2504" y="2850"/>
                        </a:lnTo>
                        <a:lnTo>
                          <a:pt x="2480" y="2870"/>
                        </a:lnTo>
                        <a:lnTo>
                          <a:pt x="2468" y="2889"/>
                        </a:lnTo>
                        <a:lnTo>
                          <a:pt x="2456" y="2911"/>
                        </a:lnTo>
                        <a:lnTo>
                          <a:pt x="2453" y="2929"/>
                        </a:lnTo>
                        <a:lnTo>
                          <a:pt x="2449" y="3004"/>
                        </a:lnTo>
                        <a:lnTo>
                          <a:pt x="2436" y="3021"/>
                        </a:lnTo>
                        <a:lnTo>
                          <a:pt x="2411" y="3041"/>
                        </a:lnTo>
                        <a:lnTo>
                          <a:pt x="2351" y="3054"/>
                        </a:lnTo>
                        <a:lnTo>
                          <a:pt x="2339" y="3060"/>
                        </a:lnTo>
                        <a:lnTo>
                          <a:pt x="2311" y="3087"/>
                        </a:lnTo>
                        <a:lnTo>
                          <a:pt x="2268" y="3116"/>
                        </a:lnTo>
                        <a:lnTo>
                          <a:pt x="2248" y="3121"/>
                        </a:lnTo>
                        <a:lnTo>
                          <a:pt x="2228" y="3124"/>
                        </a:lnTo>
                        <a:lnTo>
                          <a:pt x="2184" y="3117"/>
                        </a:lnTo>
                        <a:lnTo>
                          <a:pt x="2180" y="3106"/>
                        </a:lnTo>
                        <a:lnTo>
                          <a:pt x="2183" y="3090"/>
                        </a:lnTo>
                        <a:lnTo>
                          <a:pt x="2159" y="3084"/>
                        </a:lnTo>
                        <a:lnTo>
                          <a:pt x="1954" y="3092"/>
                        </a:lnTo>
                        <a:lnTo>
                          <a:pt x="1920" y="3087"/>
                        </a:lnTo>
                        <a:lnTo>
                          <a:pt x="1889" y="3071"/>
                        </a:lnTo>
                        <a:lnTo>
                          <a:pt x="1865" y="3065"/>
                        </a:lnTo>
                        <a:lnTo>
                          <a:pt x="1841" y="3066"/>
                        </a:lnTo>
                        <a:lnTo>
                          <a:pt x="1826" y="3069"/>
                        </a:lnTo>
                        <a:lnTo>
                          <a:pt x="1740" y="3117"/>
                        </a:lnTo>
                        <a:lnTo>
                          <a:pt x="1721" y="3120"/>
                        </a:lnTo>
                        <a:lnTo>
                          <a:pt x="1708" y="3119"/>
                        </a:lnTo>
                        <a:lnTo>
                          <a:pt x="1694" y="3112"/>
                        </a:lnTo>
                        <a:lnTo>
                          <a:pt x="1685" y="3105"/>
                        </a:lnTo>
                        <a:lnTo>
                          <a:pt x="1673" y="3086"/>
                        </a:lnTo>
                        <a:lnTo>
                          <a:pt x="1658" y="3072"/>
                        </a:lnTo>
                        <a:lnTo>
                          <a:pt x="1636" y="3065"/>
                        </a:lnTo>
                        <a:lnTo>
                          <a:pt x="1629" y="3054"/>
                        </a:lnTo>
                        <a:lnTo>
                          <a:pt x="1623" y="3035"/>
                        </a:lnTo>
                        <a:lnTo>
                          <a:pt x="1606" y="3024"/>
                        </a:lnTo>
                        <a:lnTo>
                          <a:pt x="1584" y="3017"/>
                        </a:lnTo>
                        <a:lnTo>
                          <a:pt x="1555" y="3017"/>
                        </a:lnTo>
                        <a:lnTo>
                          <a:pt x="1533" y="3022"/>
                        </a:lnTo>
                        <a:lnTo>
                          <a:pt x="1516" y="3030"/>
                        </a:lnTo>
                        <a:lnTo>
                          <a:pt x="1483" y="3064"/>
                        </a:lnTo>
                        <a:lnTo>
                          <a:pt x="1446" y="3079"/>
                        </a:lnTo>
                        <a:lnTo>
                          <a:pt x="1339" y="3092"/>
                        </a:lnTo>
                        <a:lnTo>
                          <a:pt x="1290" y="3091"/>
                        </a:lnTo>
                        <a:lnTo>
                          <a:pt x="1266" y="3082"/>
                        </a:lnTo>
                        <a:lnTo>
                          <a:pt x="1231" y="3080"/>
                        </a:lnTo>
                        <a:lnTo>
                          <a:pt x="1220" y="3076"/>
                        </a:lnTo>
                        <a:lnTo>
                          <a:pt x="1198" y="3059"/>
                        </a:lnTo>
                        <a:lnTo>
                          <a:pt x="1179" y="3049"/>
                        </a:lnTo>
                        <a:lnTo>
                          <a:pt x="1165" y="3046"/>
                        </a:lnTo>
                        <a:lnTo>
                          <a:pt x="1153" y="3049"/>
                        </a:lnTo>
                        <a:lnTo>
                          <a:pt x="1131" y="3060"/>
                        </a:lnTo>
                        <a:lnTo>
                          <a:pt x="1120" y="3070"/>
                        </a:lnTo>
                        <a:lnTo>
                          <a:pt x="1110" y="3090"/>
                        </a:lnTo>
                        <a:lnTo>
                          <a:pt x="1100" y="3122"/>
                        </a:lnTo>
                        <a:lnTo>
                          <a:pt x="1090" y="3132"/>
                        </a:lnTo>
                        <a:lnTo>
                          <a:pt x="1001" y="3160"/>
                        </a:lnTo>
                        <a:lnTo>
                          <a:pt x="978" y="3175"/>
                        </a:lnTo>
                        <a:lnTo>
                          <a:pt x="944" y="3192"/>
                        </a:lnTo>
                        <a:lnTo>
                          <a:pt x="925" y="3195"/>
                        </a:lnTo>
                        <a:lnTo>
                          <a:pt x="909" y="3192"/>
                        </a:lnTo>
                        <a:lnTo>
                          <a:pt x="876" y="3174"/>
                        </a:lnTo>
                        <a:lnTo>
                          <a:pt x="865" y="3166"/>
                        </a:lnTo>
                        <a:lnTo>
                          <a:pt x="843" y="3158"/>
                        </a:lnTo>
                        <a:lnTo>
                          <a:pt x="804" y="3157"/>
                        </a:lnTo>
                        <a:lnTo>
                          <a:pt x="794" y="3153"/>
                        </a:lnTo>
                        <a:lnTo>
                          <a:pt x="773" y="3138"/>
                        </a:lnTo>
                        <a:lnTo>
                          <a:pt x="754" y="3138"/>
                        </a:lnTo>
                        <a:lnTo>
                          <a:pt x="646" y="3201"/>
                        </a:lnTo>
                        <a:lnTo>
                          <a:pt x="646" y="3175"/>
                        </a:lnTo>
                        <a:lnTo>
                          <a:pt x="660" y="3132"/>
                        </a:lnTo>
                        <a:lnTo>
                          <a:pt x="665" y="3105"/>
                        </a:lnTo>
                        <a:lnTo>
                          <a:pt x="665" y="3088"/>
                        </a:lnTo>
                        <a:lnTo>
                          <a:pt x="661" y="3068"/>
                        </a:lnTo>
                        <a:lnTo>
                          <a:pt x="649" y="3050"/>
                        </a:lnTo>
                        <a:lnTo>
                          <a:pt x="631" y="3027"/>
                        </a:lnTo>
                        <a:lnTo>
                          <a:pt x="625" y="3015"/>
                        </a:lnTo>
                        <a:lnTo>
                          <a:pt x="620" y="2997"/>
                        </a:lnTo>
                        <a:lnTo>
                          <a:pt x="618" y="2968"/>
                        </a:lnTo>
                        <a:lnTo>
                          <a:pt x="619" y="2897"/>
                        </a:lnTo>
                        <a:lnTo>
                          <a:pt x="615" y="2882"/>
                        </a:lnTo>
                        <a:lnTo>
                          <a:pt x="609" y="2867"/>
                        </a:lnTo>
                        <a:lnTo>
                          <a:pt x="593" y="2848"/>
                        </a:lnTo>
                        <a:lnTo>
                          <a:pt x="580" y="2840"/>
                        </a:lnTo>
                        <a:lnTo>
                          <a:pt x="563" y="2832"/>
                        </a:lnTo>
                        <a:lnTo>
                          <a:pt x="553" y="2826"/>
                        </a:lnTo>
                        <a:lnTo>
                          <a:pt x="546" y="2816"/>
                        </a:lnTo>
                        <a:lnTo>
                          <a:pt x="541" y="2793"/>
                        </a:lnTo>
                        <a:lnTo>
                          <a:pt x="543" y="2783"/>
                        </a:lnTo>
                        <a:lnTo>
                          <a:pt x="559" y="2767"/>
                        </a:lnTo>
                        <a:lnTo>
                          <a:pt x="563" y="2760"/>
                        </a:lnTo>
                        <a:lnTo>
                          <a:pt x="556" y="2745"/>
                        </a:lnTo>
                        <a:lnTo>
                          <a:pt x="533" y="2730"/>
                        </a:lnTo>
                        <a:lnTo>
                          <a:pt x="533" y="2726"/>
                        </a:lnTo>
                        <a:lnTo>
                          <a:pt x="544" y="2717"/>
                        </a:lnTo>
                        <a:lnTo>
                          <a:pt x="559" y="2708"/>
                        </a:lnTo>
                        <a:lnTo>
                          <a:pt x="561" y="2700"/>
                        </a:lnTo>
                        <a:lnTo>
                          <a:pt x="559" y="2690"/>
                        </a:lnTo>
                        <a:lnTo>
                          <a:pt x="531" y="2665"/>
                        </a:lnTo>
                        <a:lnTo>
                          <a:pt x="524" y="2652"/>
                        </a:lnTo>
                        <a:lnTo>
                          <a:pt x="529" y="2638"/>
                        </a:lnTo>
                        <a:lnTo>
                          <a:pt x="539" y="2626"/>
                        </a:lnTo>
                        <a:lnTo>
                          <a:pt x="560" y="2605"/>
                        </a:lnTo>
                        <a:lnTo>
                          <a:pt x="581" y="2591"/>
                        </a:lnTo>
                        <a:lnTo>
                          <a:pt x="604" y="2581"/>
                        </a:lnTo>
                        <a:lnTo>
                          <a:pt x="659" y="2568"/>
                        </a:lnTo>
                        <a:lnTo>
                          <a:pt x="673" y="2561"/>
                        </a:lnTo>
                        <a:lnTo>
                          <a:pt x="686" y="2547"/>
                        </a:lnTo>
                        <a:lnTo>
                          <a:pt x="733" y="2496"/>
                        </a:lnTo>
                        <a:lnTo>
                          <a:pt x="739" y="2483"/>
                        </a:lnTo>
                        <a:lnTo>
                          <a:pt x="738" y="2475"/>
                        </a:lnTo>
                        <a:lnTo>
                          <a:pt x="734" y="2465"/>
                        </a:lnTo>
                        <a:lnTo>
                          <a:pt x="720" y="2457"/>
                        </a:lnTo>
                        <a:lnTo>
                          <a:pt x="703" y="2450"/>
                        </a:lnTo>
                        <a:lnTo>
                          <a:pt x="695" y="2438"/>
                        </a:lnTo>
                        <a:lnTo>
                          <a:pt x="696" y="2422"/>
                        </a:lnTo>
                        <a:lnTo>
                          <a:pt x="699" y="2407"/>
                        </a:lnTo>
                        <a:lnTo>
                          <a:pt x="718" y="2343"/>
                        </a:lnTo>
                        <a:lnTo>
                          <a:pt x="719" y="2330"/>
                        </a:lnTo>
                        <a:lnTo>
                          <a:pt x="713" y="2301"/>
                        </a:lnTo>
                        <a:lnTo>
                          <a:pt x="711" y="2282"/>
                        </a:lnTo>
                        <a:lnTo>
                          <a:pt x="734" y="2223"/>
                        </a:lnTo>
                        <a:lnTo>
                          <a:pt x="738" y="2205"/>
                        </a:lnTo>
                        <a:lnTo>
                          <a:pt x="738" y="2155"/>
                        </a:lnTo>
                        <a:lnTo>
                          <a:pt x="746" y="2141"/>
                        </a:lnTo>
                        <a:lnTo>
                          <a:pt x="769" y="2138"/>
                        </a:lnTo>
                        <a:lnTo>
                          <a:pt x="791" y="2128"/>
                        </a:lnTo>
                        <a:lnTo>
                          <a:pt x="794" y="2116"/>
                        </a:lnTo>
                        <a:lnTo>
                          <a:pt x="793" y="2102"/>
                        </a:lnTo>
                        <a:lnTo>
                          <a:pt x="774" y="2041"/>
                        </a:lnTo>
                        <a:lnTo>
                          <a:pt x="771" y="2026"/>
                        </a:lnTo>
                        <a:lnTo>
                          <a:pt x="771" y="2001"/>
                        </a:lnTo>
                        <a:lnTo>
                          <a:pt x="775" y="1991"/>
                        </a:lnTo>
                        <a:lnTo>
                          <a:pt x="766" y="1977"/>
                        </a:lnTo>
                        <a:lnTo>
                          <a:pt x="750" y="1961"/>
                        </a:lnTo>
                        <a:lnTo>
                          <a:pt x="654" y="1911"/>
                        </a:lnTo>
                        <a:lnTo>
                          <a:pt x="648" y="1887"/>
                        </a:lnTo>
                        <a:lnTo>
                          <a:pt x="640" y="1876"/>
                        </a:lnTo>
                        <a:lnTo>
                          <a:pt x="629" y="1868"/>
                        </a:lnTo>
                        <a:lnTo>
                          <a:pt x="568" y="1850"/>
                        </a:lnTo>
                        <a:lnTo>
                          <a:pt x="556" y="1843"/>
                        </a:lnTo>
                        <a:lnTo>
                          <a:pt x="544" y="1833"/>
                        </a:lnTo>
                        <a:lnTo>
                          <a:pt x="496" y="1780"/>
                        </a:lnTo>
                        <a:lnTo>
                          <a:pt x="480" y="1770"/>
                        </a:lnTo>
                        <a:lnTo>
                          <a:pt x="460" y="1760"/>
                        </a:lnTo>
                        <a:lnTo>
                          <a:pt x="425" y="1750"/>
                        </a:lnTo>
                        <a:lnTo>
                          <a:pt x="406" y="1748"/>
                        </a:lnTo>
                        <a:lnTo>
                          <a:pt x="391" y="1750"/>
                        </a:lnTo>
                        <a:lnTo>
                          <a:pt x="366" y="1756"/>
                        </a:lnTo>
                        <a:lnTo>
                          <a:pt x="341" y="1758"/>
                        </a:lnTo>
                        <a:lnTo>
                          <a:pt x="308" y="1755"/>
                        </a:lnTo>
                        <a:lnTo>
                          <a:pt x="291" y="1743"/>
                        </a:lnTo>
                        <a:lnTo>
                          <a:pt x="203" y="1657"/>
                        </a:lnTo>
                        <a:lnTo>
                          <a:pt x="170" y="1642"/>
                        </a:lnTo>
                        <a:lnTo>
                          <a:pt x="140" y="1635"/>
                        </a:lnTo>
                        <a:lnTo>
                          <a:pt x="115" y="1625"/>
                        </a:lnTo>
                        <a:lnTo>
                          <a:pt x="95" y="1627"/>
                        </a:lnTo>
                        <a:lnTo>
                          <a:pt x="58" y="1648"/>
                        </a:lnTo>
                        <a:lnTo>
                          <a:pt x="38" y="1653"/>
                        </a:lnTo>
                        <a:lnTo>
                          <a:pt x="19" y="1652"/>
                        </a:lnTo>
                        <a:lnTo>
                          <a:pt x="9" y="1648"/>
                        </a:lnTo>
                        <a:lnTo>
                          <a:pt x="3" y="1640"/>
                        </a:lnTo>
                        <a:lnTo>
                          <a:pt x="3" y="1627"/>
                        </a:lnTo>
                        <a:lnTo>
                          <a:pt x="10" y="1607"/>
                        </a:lnTo>
                        <a:lnTo>
                          <a:pt x="23" y="1577"/>
                        </a:lnTo>
                        <a:lnTo>
                          <a:pt x="23" y="1550"/>
                        </a:lnTo>
                        <a:lnTo>
                          <a:pt x="0" y="1492"/>
                        </a:lnTo>
                        <a:lnTo>
                          <a:pt x="20" y="1465"/>
                        </a:lnTo>
                        <a:lnTo>
                          <a:pt x="43" y="1452"/>
                        </a:lnTo>
                        <a:lnTo>
                          <a:pt x="71" y="1445"/>
                        </a:lnTo>
                        <a:lnTo>
                          <a:pt x="90" y="1436"/>
                        </a:lnTo>
                        <a:lnTo>
                          <a:pt x="138" y="1388"/>
                        </a:lnTo>
                        <a:lnTo>
                          <a:pt x="159" y="1373"/>
                        </a:lnTo>
                        <a:lnTo>
                          <a:pt x="176" y="1351"/>
                        </a:lnTo>
                        <a:lnTo>
                          <a:pt x="194" y="1308"/>
                        </a:lnTo>
                        <a:lnTo>
                          <a:pt x="219" y="1270"/>
                        </a:lnTo>
                        <a:lnTo>
                          <a:pt x="229" y="1257"/>
                        </a:lnTo>
                        <a:lnTo>
                          <a:pt x="250" y="1245"/>
                        </a:lnTo>
                        <a:lnTo>
                          <a:pt x="359" y="1200"/>
                        </a:lnTo>
                        <a:lnTo>
                          <a:pt x="438" y="1148"/>
                        </a:lnTo>
                        <a:lnTo>
                          <a:pt x="455" y="1131"/>
                        </a:lnTo>
                        <a:lnTo>
                          <a:pt x="475" y="1117"/>
                        </a:lnTo>
                        <a:lnTo>
                          <a:pt x="490" y="1112"/>
                        </a:lnTo>
                        <a:lnTo>
                          <a:pt x="510" y="1112"/>
                        </a:lnTo>
                        <a:lnTo>
                          <a:pt x="523" y="1115"/>
                        </a:lnTo>
                        <a:lnTo>
                          <a:pt x="541" y="1123"/>
                        </a:lnTo>
                        <a:lnTo>
                          <a:pt x="550" y="1123"/>
                        </a:lnTo>
                        <a:lnTo>
                          <a:pt x="583" y="1115"/>
                        </a:lnTo>
                        <a:lnTo>
                          <a:pt x="759" y="1022"/>
                        </a:lnTo>
                        <a:lnTo>
                          <a:pt x="774" y="1021"/>
                        </a:lnTo>
                        <a:lnTo>
                          <a:pt x="789" y="1027"/>
                        </a:lnTo>
                        <a:lnTo>
                          <a:pt x="801" y="1037"/>
                        </a:lnTo>
                        <a:lnTo>
                          <a:pt x="815" y="1042"/>
                        </a:lnTo>
                        <a:lnTo>
                          <a:pt x="828" y="1040"/>
                        </a:lnTo>
                        <a:lnTo>
                          <a:pt x="849" y="1023"/>
                        </a:lnTo>
                        <a:lnTo>
                          <a:pt x="859" y="1012"/>
                        </a:lnTo>
                        <a:lnTo>
                          <a:pt x="881" y="983"/>
                        </a:lnTo>
                        <a:lnTo>
                          <a:pt x="991" y="915"/>
                        </a:lnTo>
                        <a:lnTo>
                          <a:pt x="1009" y="908"/>
                        </a:lnTo>
                        <a:lnTo>
                          <a:pt x="1034" y="910"/>
                        </a:lnTo>
                        <a:lnTo>
                          <a:pt x="1049" y="908"/>
                        </a:lnTo>
                        <a:lnTo>
                          <a:pt x="1064" y="902"/>
                        </a:lnTo>
                        <a:lnTo>
                          <a:pt x="1074" y="886"/>
                        </a:lnTo>
                        <a:lnTo>
                          <a:pt x="1079" y="865"/>
                        </a:lnTo>
                        <a:lnTo>
                          <a:pt x="1076" y="847"/>
                        </a:lnTo>
                        <a:lnTo>
                          <a:pt x="1079" y="818"/>
                        </a:lnTo>
                        <a:lnTo>
                          <a:pt x="1083" y="806"/>
                        </a:lnTo>
                        <a:lnTo>
                          <a:pt x="1090" y="793"/>
                        </a:lnTo>
                        <a:lnTo>
                          <a:pt x="1105" y="787"/>
                        </a:lnTo>
                        <a:lnTo>
                          <a:pt x="1128" y="781"/>
                        </a:lnTo>
                        <a:lnTo>
                          <a:pt x="1204" y="778"/>
                        </a:lnTo>
                        <a:lnTo>
                          <a:pt x="1250" y="788"/>
                        </a:lnTo>
                        <a:lnTo>
                          <a:pt x="1293" y="803"/>
                        </a:lnTo>
                        <a:lnTo>
                          <a:pt x="1330" y="808"/>
                        </a:lnTo>
                        <a:lnTo>
                          <a:pt x="1475" y="783"/>
                        </a:lnTo>
                        <a:lnTo>
                          <a:pt x="1535" y="806"/>
                        </a:lnTo>
                        <a:lnTo>
                          <a:pt x="1559" y="797"/>
                        </a:lnTo>
                        <a:lnTo>
                          <a:pt x="1599" y="763"/>
                        </a:lnTo>
                        <a:lnTo>
                          <a:pt x="1614" y="753"/>
                        </a:lnTo>
                        <a:lnTo>
                          <a:pt x="1628" y="750"/>
                        </a:lnTo>
                        <a:lnTo>
                          <a:pt x="1680" y="745"/>
                        </a:lnTo>
                        <a:lnTo>
                          <a:pt x="1713" y="747"/>
                        </a:lnTo>
                        <a:lnTo>
                          <a:pt x="1726" y="745"/>
                        </a:lnTo>
                        <a:lnTo>
                          <a:pt x="1741" y="736"/>
                        </a:lnTo>
                        <a:lnTo>
                          <a:pt x="1756" y="715"/>
                        </a:lnTo>
                        <a:lnTo>
                          <a:pt x="1769" y="681"/>
                        </a:lnTo>
                        <a:lnTo>
                          <a:pt x="1779" y="667"/>
                        </a:lnTo>
                        <a:lnTo>
                          <a:pt x="1780" y="650"/>
                        </a:lnTo>
                        <a:lnTo>
                          <a:pt x="1769" y="610"/>
                        </a:lnTo>
                        <a:lnTo>
                          <a:pt x="1770" y="582"/>
                        </a:lnTo>
                        <a:lnTo>
                          <a:pt x="1770" y="571"/>
                        </a:lnTo>
                        <a:lnTo>
                          <a:pt x="1759" y="533"/>
                        </a:lnTo>
                        <a:lnTo>
                          <a:pt x="1755" y="522"/>
                        </a:lnTo>
                        <a:lnTo>
                          <a:pt x="1758" y="511"/>
                        </a:lnTo>
                        <a:lnTo>
                          <a:pt x="1764" y="505"/>
                        </a:lnTo>
                        <a:lnTo>
                          <a:pt x="1779" y="507"/>
                        </a:lnTo>
                        <a:lnTo>
                          <a:pt x="1804" y="518"/>
                        </a:lnTo>
                        <a:lnTo>
                          <a:pt x="1823" y="522"/>
                        </a:lnTo>
                        <a:lnTo>
                          <a:pt x="1850" y="508"/>
                        </a:lnTo>
                        <a:lnTo>
                          <a:pt x="1904" y="463"/>
                        </a:lnTo>
                        <a:lnTo>
                          <a:pt x="1919" y="455"/>
                        </a:lnTo>
                        <a:lnTo>
                          <a:pt x="1930" y="446"/>
                        </a:lnTo>
                        <a:lnTo>
                          <a:pt x="1936" y="433"/>
                        </a:lnTo>
                        <a:lnTo>
                          <a:pt x="1943" y="411"/>
                        </a:lnTo>
                        <a:lnTo>
                          <a:pt x="1945" y="387"/>
                        </a:lnTo>
                        <a:lnTo>
                          <a:pt x="1945" y="370"/>
                        </a:lnTo>
                        <a:lnTo>
                          <a:pt x="1949" y="346"/>
                        </a:lnTo>
                        <a:lnTo>
                          <a:pt x="1961" y="325"/>
                        </a:lnTo>
                        <a:lnTo>
                          <a:pt x="1974" y="316"/>
                        </a:lnTo>
                        <a:lnTo>
                          <a:pt x="1994" y="310"/>
                        </a:lnTo>
                        <a:lnTo>
                          <a:pt x="2076" y="308"/>
                        </a:lnTo>
                        <a:lnTo>
                          <a:pt x="2111" y="313"/>
                        </a:lnTo>
                        <a:lnTo>
                          <a:pt x="2140" y="312"/>
                        </a:lnTo>
                        <a:lnTo>
                          <a:pt x="2153" y="313"/>
                        </a:lnTo>
                        <a:lnTo>
                          <a:pt x="2161" y="318"/>
                        </a:lnTo>
                        <a:lnTo>
                          <a:pt x="2168" y="333"/>
                        </a:lnTo>
                        <a:lnTo>
                          <a:pt x="2174" y="366"/>
                        </a:lnTo>
                        <a:lnTo>
                          <a:pt x="2183" y="377"/>
                        </a:lnTo>
                        <a:lnTo>
                          <a:pt x="2199" y="380"/>
                        </a:lnTo>
                        <a:lnTo>
                          <a:pt x="2231" y="376"/>
                        </a:lnTo>
                        <a:lnTo>
                          <a:pt x="2396" y="333"/>
                        </a:lnTo>
                        <a:lnTo>
                          <a:pt x="2471" y="283"/>
                        </a:lnTo>
                        <a:lnTo>
                          <a:pt x="2539" y="251"/>
                        </a:lnTo>
                        <a:lnTo>
                          <a:pt x="2555" y="238"/>
                        </a:lnTo>
                        <a:lnTo>
                          <a:pt x="2578" y="217"/>
                        </a:lnTo>
                        <a:lnTo>
                          <a:pt x="2591" y="207"/>
                        </a:lnTo>
                        <a:lnTo>
                          <a:pt x="2621" y="191"/>
                        </a:lnTo>
                        <a:lnTo>
                          <a:pt x="2638" y="177"/>
                        </a:lnTo>
                        <a:lnTo>
                          <a:pt x="2650" y="160"/>
                        </a:lnTo>
                        <a:lnTo>
                          <a:pt x="2670" y="121"/>
                        </a:lnTo>
                        <a:lnTo>
                          <a:pt x="2689" y="97"/>
                        </a:lnTo>
                        <a:lnTo>
                          <a:pt x="2728" y="65"/>
                        </a:lnTo>
                        <a:lnTo>
                          <a:pt x="2738" y="51"/>
                        </a:lnTo>
                        <a:lnTo>
                          <a:pt x="2759" y="16"/>
                        </a:lnTo>
                        <a:lnTo>
                          <a:pt x="2766" y="7"/>
                        </a:lnTo>
                        <a:lnTo>
                          <a:pt x="2775" y="3"/>
                        </a:lnTo>
                        <a:lnTo>
                          <a:pt x="2785" y="5"/>
                        </a:lnTo>
                        <a:lnTo>
                          <a:pt x="2804" y="12"/>
                        </a:lnTo>
                        <a:lnTo>
                          <a:pt x="2819" y="12"/>
                        </a:lnTo>
                        <a:lnTo>
                          <a:pt x="2840" y="2"/>
                        </a:lnTo>
                        <a:lnTo>
                          <a:pt x="2853" y="0"/>
                        </a:lnTo>
                        <a:lnTo>
                          <a:pt x="2866" y="1"/>
                        </a:lnTo>
                        <a:lnTo>
                          <a:pt x="2884" y="16"/>
                        </a:lnTo>
                        <a:lnTo>
                          <a:pt x="2899" y="23"/>
                        </a:lnTo>
                        <a:lnTo>
                          <a:pt x="2943" y="20"/>
                        </a:lnTo>
                        <a:lnTo>
                          <a:pt x="2953" y="22"/>
                        </a:lnTo>
                        <a:lnTo>
                          <a:pt x="2963" y="30"/>
                        </a:lnTo>
                        <a:lnTo>
                          <a:pt x="2998" y="71"/>
                        </a:lnTo>
                        <a:lnTo>
                          <a:pt x="3009" y="82"/>
                        </a:lnTo>
                        <a:lnTo>
                          <a:pt x="3035" y="90"/>
                        </a:lnTo>
                        <a:lnTo>
                          <a:pt x="3083" y="77"/>
                        </a:lnTo>
                        <a:lnTo>
                          <a:pt x="3099" y="162"/>
                        </a:lnTo>
                        <a:lnTo>
                          <a:pt x="3118" y="198"/>
                        </a:lnTo>
                        <a:lnTo>
                          <a:pt x="3184" y="257"/>
                        </a:lnTo>
                        <a:close/>
                        <a:moveTo>
                          <a:pt x="2269" y="1407"/>
                        </a:moveTo>
                        <a:lnTo>
                          <a:pt x="2256" y="1390"/>
                        </a:lnTo>
                        <a:lnTo>
                          <a:pt x="2243" y="1380"/>
                        </a:lnTo>
                        <a:lnTo>
                          <a:pt x="2199" y="1368"/>
                        </a:lnTo>
                        <a:lnTo>
                          <a:pt x="2185" y="1362"/>
                        </a:lnTo>
                        <a:lnTo>
                          <a:pt x="2177" y="1350"/>
                        </a:lnTo>
                        <a:lnTo>
                          <a:pt x="2171" y="1331"/>
                        </a:lnTo>
                        <a:lnTo>
                          <a:pt x="2162" y="1321"/>
                        </a:lnTo>
                        <a:lnTo>
                          <a:pt x="2140" y="1303"/>
                        </a:lnTo>
                        <a:lnTo>
                          <a:pt x="2111" y="1273"/>
                        </a:lnTo>
                        <a:lnTo>
                          <a:pt x="2090" y="1261"/>
                        </a:lnTo>
                        <a:lnTo>
                          <a:pt x="2070" y="1257"/>
                        </a:lnTo>
                        <a:lnTo>
                          <a:pt x="1979" y="1267"/>
                        </a:lnTo>
                        <a:lnTo>
                          <a:pt x="1735" y="1338"/>
                        </a:lnTo>
                        <a:lnTo>
                          <a:pt x="1727" y="1345"/>
                        </a:lnTo>
                        <a:lnTo>
                          <a:pt x="1722" y="1361"/>
                        </a:lnTo>
                        <a:lnTo>
                          <a:pt x="1727" y="1392"/>
                        </a:lnTo>
                        <a:lnTo>
                          <a:pt x="1717" y="1407"/>
                        </a:lnTo>
                        <a:lnTo>
                          <a:pt x="1707" y="1413"/>
                        </a:lnTo>
                        <a:lnTo>
                          <a:pt x="1696" y="1416"/>
                        </a:lnTo>
                        <a:lnTo>
                          <a:pt x="1687" y="1415"/>
                        </a:lnTo>
                        <a:lnTo>
                          <a:pt x="1641" y="1395"/>
                        </a:lnTo>
                        <a:lnTo>
                          <a:pt x="1620" y="1395"/>
                        </a:lnTo>
                        <a:lnTo>
                          <a:pt x="1532" y="1427"/>
                        </a:lnTo>
                        <a:lnTo>
                          <a:pt x="1497" y="1448"/>
                        </a:lnTo>
                        <a:lnTo>
                          <a:pt x="1491" y="1457"/>
                        </a:lnTo>
                        <a:lnTo>
                          <a:pt x="1490" y="1466"/>
                        </a:lnTo>
                        <a:lnTo>
                          <a:pt x="1499" y="1477"/>
                        </a:lnTo>
                        <a:lnTo>
                          <a:pt x="1532" y="1498"/>
                        </a:lnTo>
                        <a:lnTo>
                          <a:pt x="1549" y="1513"/>
                        </a:lnTo>
                        <a:lnTo>
                          <a:pt x="1550" y="1526"/>
                        </a:lnTo>
                        <a:lnTo>
                          <a:pt x="1539" y="1558"/>
                        </a:lnTo>
                        <a:lnTo>
                          <a:pt x="1540" y="1572"/>
                        </a:lnTo>
                        <a:lnTo>
                          <a:pt x="1546" y="1581"/>
                        </a:lnTo>
                        <a:lnTo>
                          <a:pt x="1591" y="1638"/>
                        </a:lnTo>
                        <a:lnTo>
                          <a:pt x="1605" y="1665"/>
                        </a:lnTo>
                        <a:lnTo>
                          <a:pt x="1615" y="1700"/>
                        </a:lnTo>
                        <a:lnTo>
                          <a:pt x="1627" y="1723"/>
                        </a:lnTo>
                        <a:lnTo>
                          <a:pt x="1678" y="1781"/>
                        </a:lnTo>
                        <a:lnTo>
                          <a:pt x="1684" y="1802"/>
                        </a:lnTo>
                        <a:lnTo>
                          <a:pt x="1680" y="1850"/>
                        </a:lnTo>
                        <a:lnTo>
                          <a:pt x="1682" y="1867"/>
                        </a:lnTo>
                        <a:lnTo>
                          <a:pt x="1693" y="1878"/>
                        </a:lnTo>
                        <a:lnTo>
                          <a:pt x="1719" y="1885"/>
                        </a:lnTo>
                        <a:lnTo>
                          <a:pt x="1796" y="1852"/>
                        </a:lnTo>
                        <a:lnTo>
                          <a:pt x="1929" y="1828"/>
                        </a:lnTo>
                        <a:lnTo>
                          <a:pt x="2011" y="1802"/>
                        </a:lnTo>
                        <a:lnTo>
                          <a:pt x="2023" y="1796"/>
                        </a:lnTo>
                        <a:lnTo>
                          <a:pt x="2050" y="1771"/>
                        </a:lnTo>
                        <a:lnTo>
                          <a:pt x="2080" y="1748"/>
                        </a:lnTo>
                        <a:lnTo>
                          <a:pt x="2097" y="1743"/>
                        </a:lnTo>
                        <a:lnTo>
                          <a:pt x="2115" y="1742"/>
                        </a:lnTo>
                        <a:lnTo>
                          <a:pt x="2124" y="1747"/>
                        </a:lnTo>
                        <a:lnTo>
                          <a:pt x="2150" y="1753"/>
                        </a:lnTo>
                        <a:lnTo>
                          <a:pt x="2182" y="1757"/>
                        </a:lnTo>
                        <a:lnTo>
                          <a:pt x="2249" y="1753"/>
                        </a:lnTo>
                        <a:lnTo>
                          <a:pt x="2290" y="1743"/>
                        </a:lnTo>
                        <a:lnTo>
                          <a:pt x="2304" y="1716"/>
                        </a:lnTo>
                        <a:lnTo>
                          <a:pt x="2304" y="1702"/>
                        </a:lnTo>
                        <a:lnTo>
                          <a:pt x="2293" y="1675"/>
                        </a:lnTo>
                        <a:lnTo>
                          <a:pt x="2291" y="1667"/>
                        </a:lnTo>
                        <a:lnTo>
                          <a:pt x="2294" y="1641"/>
                        </a:lnTo>
                        <a:lnTo>
                          <a:pt x="2290" y="1625"/>
                        </a:lnTo>
                        <a:lnTo>
                          <a:pt x="2280" y="1601"/>
                        </a:lnTo>
                        <a:lnTo>
                          <a:pt x="2282" y="1591"/>
                        </a:lnTo>
                        <a:lnTo>
                          <a:pt x="2287" y="1582"/>
                        </a:lnTo>
                        <a:lnTo>
                          <a:pt x="2340" y="1532"/>
                        </a:lnTo>
                        <a:lnTo>
                          <a:pt x="2355" y="1511"/>
                        </a:lnTo>
                        <a:lnTo>
                          <a:pt x="2360" y="1492"/>
                        </a:lnTo>
                        <a:lnTo>
                          <a:pt x="2357" y="1477"/>
                        </a:lnTo>
                        <a:lnTo>
                          <a:pt x="2350" y="1463"/>
                        </a:lnTo>
                        <a:lnTo>
                          <a:pt x="2339" y="1455"/>
                        </a:lnTo>
                        <a:lnTo>
                          <a:pt x="2300" y="1442"/>
                        </a:lnTo>
                        <a:lnTo>
                          <a:pt x="2287" y="1435"/>
                        </a:lnTo>
                        <a:lnTo>
                          <a:pt x="2275" y="1420"/>
                        </a:lnTo>
                        <a:lnTo>
                          <a:pt x="2269" y="1407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1" name="Královéhradecký" descr="{&quot;Key&quot;:&quot;královéhradecký&quot;,&quot;Name&quot;:&quot;Královéhradec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566525D4-689C-6D70-D71A-BD49332FB89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21" y="1406"/>
                    <a:ext cx="1182" cy="961"/>
                  </a:xfrm>
                  <a:custGeom>
                    <a:avLst/>
                    <a:gdLst>
                      <a:gd name="T0" fmla="*/ 2491 w 2708"/>
                      <a:gd name="T1" fmla="*/ 1865 h 2202"/>
                      <a:gd name="T2" fmla="*/ 2278 w 2708"/>
                      <a:gd name="T3" fmla="*/ 2044 h 2202"/>
                      <a:gd name="T4" fmla="*/ 2236 w 2708"/>
                      <a:gd name="T5" fmla="*/ 2130 h 2202"/>
                      <a:gd name="T6" fmla="*/ 1978 w 2708"/>
                      <a:gd name="T7" fmla="*/ 2202 h 2202"/>
                      <a:gd name="T8" fmla="*/ 1840 w 2708"/>
                      <a:gd name="T9" fmla="*/ 2085 h 2202"/>
                      <a:gd name="T10" fmla="*/ 1749 w 2708"/>
                      <a:gd name="T11" fmla="*/ 1994 h 2202"/>
                      <a:gd name="T12" fmla="*/ 1605 w 2708"/>
                      <a:gd name="T13" fmla="*/ 1920 h 2202"/>
                      <a:gd name="T14" fmla="*/ 1537 w 2708"/>
                      <a:gd name="T15" fmla="*/ 1812 h 2202"/>
                      <a:gd name="T16" fmla="*/ 1307 w 2708"/>
                      <a:gd name="T17" fmla="*/ 1940 h 2202"/>
                      <a:gd name="T18" fmla="*/ 1245 w 2708"/>
                      <a:gd name="T19" fmla="*/ 1805 h 2202"/>
                      <a:gd name="T20" fmla="*/ 1099 w 2708"/>
                      <a:gd name="T21" fmla="*/ 1954 h 2202"/>
                      <a:gd name="T22" fmla="*/ 933 w 2708"/>
                      <a:gd name="T23" fmla="*/ 1917 h 2202"/>
                      <a:gd name="T24" fmla="*/ 658 w 2708"/>
                      <a:gd name="T25" fmla="*/ 2007 h 2202"/>
                      <a:gd name="T26" fmla="*/ 538 w 2708"/>
                      <a:gd name="T27" fmla="*/ 1932 h 2202"/>
                      <a:gd name="T28" fmla="*/ 443 w 2708"/>
                      <a:gd name="T29" fmla="*/ 1823 h 2202"/>
                      <a:gd name="T30" fmla="*/ 490 w 2708"/>
                      <a:gd name="T31" fmla="*/ 1738 h 2202"/>
                      <a:gd name="T32" fmla="*/ 445 w 2708"/>
                      <a:gd name="T33" fmla="*/ 1547 h 2202"/>
                      <a:gd name="T34" fmla="*/ 398 w 2708"/>
                      <a:gd name="T35" fmla="*/ 1444 h 2202"/>
                      <a:gd name="T36" fmla="*/ 207 w 2708"/>
                      <a:gd name="T37" fmla="*/ 1448 h 2202"/>
                      <a:gd name="T38" fmla="*/ 149 w 2708"/>
                      <a:gd name="T39" fmla="*/ 1384 h 2202"/>
                      <a:gd name="T40" fmla="*/ 12 w 2708"/>
                      <a:gd name="T41" fmla="*/ 1277 h 2202"/>
                      <a:gd name="T42" fmla="*/ 14 w 2708"/>
                      <a:gd name="T43" fmla="*/ 1164 h 2202"/>
                      <a:gd name="T44" fmla="*/ 53 w 2708"/>
                      <a:gd name="T45" fmla="*/ 1044 h 2202"/>
                      <a:gd name="T46" fmla="*/ 10 w 2708"/>
                      <a:gd name="T47" fmla="*/ 838 h 2202"/>
                      <a:gd name="T48" fmla="*/ 37 w 2708"/>
                      <a:gd name="T49" fmla="*/ 773 h 2202"/>
                      <a:gd name="T50" fmla="*/ 210 w 2708"/>
                      <a:gd name="T51" fmla="*/ 875 h 2202"/>
                      <a:gd name="T52" fmla="*/ 419 w 2708"/>
                      <a:gd name="T53" fmla="*/ 805 h 2202"/>
                      <a:gd name="T54" fmla="*/ 564 w 2708"/>
                      <a:gd name="T55" fmla="*/ 938 h 2202"/>
                      <a:gd name="T56" fmla="*/ 607 w 2708"/>
                      <a:gd name="T57" fmla="*/ 796 h 2202"/>
                      <a:gd name="T58" fmla="*/ 702 w 2708"/>
                      <a:gd name="T59" fmla="*/ 763 h 2202"/>
                      <a:gd name="T60" fmla="*/ 927 w 2708"/>
                      <a:gd name="T61" fmla="*/ 831 h 2202"/>
                      <a:gd name="T62" fmla="*/ 869 w 2708"/>
                      <a:gd name="T63" fmla="*/ 615 h 2202"/>
                      <a:gd name="T64" fmla="*/ 870 w 2708"/>
                      <a:gd name="T65" fmla="*/ 463 h 2202"/>
                      <a:gd name="T66" fmla="*/ 823 w 2708"/>
                      <a:gd name="T67" fmla="*/ 313 h 2202"/>
                      <a:gd name="T68" fmla="*/ 835 w 2708"/>
                      <a:gd name="T69" fmla="*/ 209 h 2202"/>
                      <a:gd name="T70" fmla="*/ 1014 w 2708"/>
                      <a:gd name="T71" fmla="*/ 130 h 2202"/>
                      <a:gd name="T72" fmla="*/ 1250 w 2708"/>
                      <a:gd name="T73" fmla="*/ 136 h 2202"/>
                      <a:gd name="T74" fmla="*/ 1522 w 2708"/>
                      <a:gd name="T75" fmla="*/ 275 h 2202"/>
                      <a:gd name="T76" fmla="*/ 1628 w 2708"/>
                      <a:gd name="T77" fmla="*/ 429 h 2202"/>
                      <a:gd name="T78" fmla="*/ 1675 w 2708"/>
                      <a:gd name="T79" fmla="*/ 506 h 2202"/>
                      <a:gd name="T80" fmla="*/ 1985 w 2708"/>
                      <a:gd name="T81" fmla="*/ 455 h 2202"/>
                      <a:gd name="T82" fmla="*/ 2125 w 2708"/>
                      <a:gd name="T83" fmla="*/ 356 h 2202"/>
                      <a:gd name="T84" fmla="*/ 2358 w 2708"/>
                      <a:gd name="T85" fmla="*/ 650 h 2202"/>
                      <a:gd name="T86" fmla="*/ 2347 w 2708"/>
                      <a:gd name="T87" fmla="*/ 761 h 2202"/>
                      <a:gd name="T88" fmla="*/ 2190 w 2708"/>
                      <a:gd name="T89" fmla="*/ 834 h 2202"/>
                      <a:gd name="T90" fmla="*/ 2058 w 2708"/>
                      <a:gd name="T91" fmla="*/ 948 h 2202"/>
                      <a:gd name="T92" fmla="*/ 1995 w 2708"/>
                      <a:gd name="T93" fmla="*/ 996 h 2202"/>
                      <a:gd name="T94" fmla="*/ 2090 w 2708"/>
                      <a:gd name="T95" fmla="*/ 1196 h 2202"/>
                      <a:gd name="T96" fmla="*/ 2247 w 2708"/>
                      <a:gd name="T97" fmla="*/ 1194 h 2202"/>
                      <a:gd name="T98" fmla="*/ 2282 w 2708"/>
                      <a:gd name="T99" fmla="*/ 1305 h 2202"/>
                      <a:gd name="T100" fmla="*/ 2512 w 2708"/>
                      <a:gd name="T101" fmla="*/ 1530 h 2202"/>
                      <a:gd name="T102" fmla="*/ 2658 w 2708"/>
                      <a:gd name="T103" fmla="*/ 1822 h 22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2708" h="2202">
                        <a:moveTo>
                          <a:pt x="2708" y="1899"/>
                        </a:moveTo>
                        <a:lnTo>
                          <a:pt x="2513" y="1837"/>
                        </a:lnTo>
                        <a:lnTo>
                          <a:pt x="2503" y="1842"/>
                        </a:lnTo>
                        <a:lnTo>
                          <a:pt x="2496" y="1852"/>
                        </a:lnTo>
                        <a:lnTo>
                          <a:pt x="2491" y="1865"/>
                        </a:lnTo>
                        <a:lnTo>
                          <a:pt x="2487" y="1883"/>
                        </a:lnTo>
                        <a:lnTo>
                          <a:pt x="2484" y="1922"/>
                        </a:lnTo>
                        <a:lnTo>
                          <a:pt x="2479" y="1939"/>
                        </a:lnTo>
                        <a:lnTo>
                          <a:pt x="2469" y="1953"/>
                        </a:lnTo>
                        <a:lnTo>
                          <a:pt x="2278" y="2044"/>
                        </a:lnTo>
                        <a:lnTo>
                          <a:pt x="2268" y="2053"/>
                        </a:lnTo>
                        <a:lnTo>
                          <a:pt x="2259" y="2065"/>
                        </a:lnTo>
                        <a:lnTo>
                          <a:pt x="2252" y="2102"/>
                        </a:lnTo>
                        <a:lnTo>
                          <a:pt x="2244" y="2118"/>
                        </a:lnTo>
                        <a:lnTo>
                          <a:pt x="2236" y="2130"/>
                        </a:lnTo>
                        <a:lnTo>
                          <a:pt x="2224" y="2142"/>
                        </a:lnTo>
                        <a:lnTo>
                          <a:pt x="2199" y="2154"/>
                        </a:lnTo>
                        <a:lnTo>
                          <a:pt x="2034" y="2170"/>
                        </a:lnTo>
                        <a:lnTo>
                          <a:pt x="2006" y="2182"/>
                        </a:lnTo>
                        <a:lnTo>
                          <a:pt x="1978" y="2202"/>
                        </a:lnTo>
                        <a:lnTo>
                          <a:pt x="1907" y="2140"/>
                        </a:lnTo>
                        <a:lnTo>
                          <a:pt x="1885" y="2135"/>
                        </a:lnTo>
                        <a:lnTo>
                          <a:pt x="1877" y="2129"/>
                        </a:lnTo>
                        <a:lnTo>
                          <a:pt x="1848" y="2092"/>
                        </a:lnTo>
                        <a:lnTo>
                          <a:pt x="1840" y="2085"/>
                        </a:lnTo>
                        <a:lnTo>
                          <a:pt x="1824" y="2082"/>
                        </a:lnTo>
                        <a:lnTo>
                          <a:pt x="1804" y="2070"/>
                        </a:lnTo>
                        <a:lnTo>
                          <a:pt x="1782" y="2050"/>
                        </a:lnTo>
                        <a:lnTo>
                          <a:pt x="1763" y="2023"/>
                        </a:lnTo>
                        <a:lnTo>
                          <a:pt x="1749" y="1994"/>
                        </a:lnTo>
                        <a:lnTo>
                          <a:pt x="1739" y="1985"/>
                        </a:lnTo>
                        <a:lnTo>
                          <a:pt x="1633" y="1964"/>
                        </a:lnTo>
                        <a:lnTo>
                          <a:pt x="1618" y="1954"/>
                        </a:lnTo>
                        <a:lnTo>
                          <a:pt x="1609" y="1938"/>
                        </a:lnTo>
                        <a:lnTo>
                          <a:pt x="1605" y="1920"/>
                        </a:lnTo>
                        <a:lnTo>
                          <a:pt x="1605" y="1862"/>
                        </a:lnTo>
                        <a:lnTo>
                          <a:pt x="1603" y="1847"/>
                        </a:lnTo>
                        <a:lnTo>
                          <a:pt x="1598" y="1835"/>
                        </a:lnTo>
                        <a:lnTo>
                          <a:pt x="1588" y="1828"/>
                        </a:lnTo>
                        <a:lnTo>
                          <a:pt x="1537" y="1812"/>
                        </a:lnTo>
                        <a:lnTo>
                          <a:pt x="1459" y="1814"/>
                        </a:lnTo>
                        <a:lnTo>
                          <a:pt x="1442" y="1822"/>
                        </a:lnTo>
                        <a:lnTo>
                          <a:pt x="1324" y="1938"/>
                        </a:lnTo>
                        <a:lnTo>
                          <a:pt x="1314" y="1943"/>
                        </a:lnTo>
                        <a:lnTo>
                          <a:pt x="1307" y="1940"/>
                        </a:lnTo>
                        <a:lnTo>
                          <a:pt x="1292" y="1923"/>
                        </a:lnTo>
                        <a:lnTo>
                          <a:pt x="1279" y="1893"/>
                        </a:lnTo>
                        <a:lnTo>
                          <a:pt x="1262" y="1819"/>
                        </a:lnTo>
                        <a:lnTo>
                          <a:pt x="1254" y="1809"/>
                        </a:lnTo>
                        <a:lnTo>
                          <a:pt x="1245" y="1805"/>
                        </a:lnTo>
                        <a:lnTo>
                          <a:pt x="1153" y="1832"/>
                        </a:lnTo>
                        <a:lnTo>
                          <a:pt x="1142" y="1846"/>
                        </a:lnTo>
                        <a:lnTo>
                          <a:pt x="1133" y="1864"/>
                        </a:lnTo>
                        <a:lnTo>
                          <a:pt x="1109" y="1943"/>
                        </a:lnTo>
                        <a:lnTo>
                          <a:pt x="1099" y="1954"/>
                        </a:lnTo>
                        <a:lnTo>
                          <a:pt x="1088" y="1958"/>
                        </a:lnTo>
                        <a:lnTo>
                          <a:pt x="1074" y="1954"/>
                        </a:lnTo>
                        <a:lnTo>
                          <a:pt x="999" y="1903"/>
                        </a:lnTo>
                        <a:lnTo>
                          <a:pt x="989" y="1900"/>
                        </a:lnTo>
                        <a:lnTo>
                          <a:pt x="933" y="1917"/>
                        </a:lnTo>
                        <a:lnTo>
                          <a:pt x="905" y="1917"/>
                        </a:lnTo>
                        <a:lnTo>
                          <a:pt x="833" y="1880"/>
                        </a:lnTo>
                        <a:lnTo>
                          <a:pt x="805" y="1883"/>
                        </a:lnTo>
                        <a:lnTo>
                          <a:pt x="769" y="1900"/>
                        </a:lnTo>
                        <a:lnTo>
                          <a:pt x="658" y="2007"/>
                        </a:lnTo>
                        <a:lnTo>
                          <a:pt x="643" y="2008"/>
                        </a:lnTo>
                        <a:lnTo>
                          <a:pt x="542" y="1969"/>
                        </a:lnTo>
                        <a:lnTo>
                          <a:pt x="547" y="1962"/>
                        </a:lnTo>
                        <a:lnTo>
                          <a:pt x="545" y="1949"/>
                        </a:lnTo>
                        <a:lnTo>
                          <a:pt x="538" y="1932"/>
                        </a:lnTo>
                        <a:lnTo>
                          <a:pt x="514" y="1895"/>
                        </a:lnTo>
                        <a:lnTo>
                          <a:pt x="497" y="1874"/>
                        </a:lnTo>
                        <a:lnTo>
                          <a:pt x="483" y="1859"/>
                        </a:lnTo>
                        <a:lnTo>
                          <a:pt x="453" y="1839"/>
                        </a:lnTo>
                        <a:lnTo>
                          <a:pt x="443" y="1823"/>
                        </a:lnTo>
                        <a:lnTo>
                          <a:pt x="444" y="1809"/>
                        </a:lnTo>
                        <a:lnTo>
                          <a:pt x="447" y="1800"/>
                        </a:lnTo>
                        <a:lnTo>
                          <a:pt x="477" y="1769"/>
                        </a:lnTo>
                        <a:lnTo>
                          <a:pt x="484" y="1757"/>
                        </a:lnTo>
                        <a:lnTo>
                          <a:pt x="490" y="1738"/>
                        </a:lnTo>
                        <a:lnTo>
                          <a:pt x="487" y="1722"/>
                        </a:lnTo>
                        <a:lnTo>
                          <a:pt x="458" y="1639"/>
                        </a:lnTo>
                        <a:lnTo>
                          <a:pt x="450" y="1609"/>
                        </a:lnTo>
                        <a:lnTo>
                          <a:pt x="445" y="1585"/>
                        </a:lnTo>
                        <a:lnTo>
                          <a:pt x="445" y="1547"/>
                        </a:lnTo>
                        <a:lnTo>
                          <a:pt x="439" y="1497"/>
                        </a:lnTo>
                        <a:lnTo>
                          <a:pt x="433" y="1480"/>
                        </a:lnTo>
                        <a:lnTo>
                          <a:pt x="425" y="1464"/>
                        </a:lnTo>
                        <a:lnTo>
                          <a:pt x="409" y="1450"/>
                        </a:lnTo>
                        <a:lnTo>
                          <a:pt x="398" y="1444"/>
                        </a:lnTo>
                        <a:lnTo>
                          <a:pt x="384" y="1444"/>
                        </a:lnTo>
                        <a:lnTo>
                          <a:pt x="308" y="1453"/>
                        </a:lnTo>
                        <a:lnTo>
                          <a:pt x="258" y="1442"/>
                        </a:lnTo>
                        <a:lnTo>
                          <a:pt x="242" y="1440"/>
                        </a:lnTo>
                        <a:lnTo>
                          <a:pt x="207" y="1448"/>
                        </a:lnTo>
                        <a:lnTo>
                          <a:pt x="180" y="1448"/>
                        </a:lnTo>
                        <a:lnTo>
                          <a:pt x="170" y="1443"/>
                        </a:lnTo>
                        <a:lnTo>
                          <a:pt x="160" y="1432"/>
                        </a:lnTo>
                        <a:lnTo>
                          <a:pt x="154" y="1417"/>
                        </a:lnTo>
                        <a:lnTo>
                          <a:pt x="149" y="1384"/>
                        </a:lnTo>
                        <a:lnTo>
                          <a:pt x="142" y="1360"/>
                        </a:lnTo>
                        <a:lnTo>
                          <a:pt x="125" y="1335"/>
                        </a:lnTo>
                        <a:lnTo>
                          <a:pt x="114" y="1324"/>
                        </a:lnTo>
                        <a:lnTo>
                          <a:pt x="103" y="1317"/>
                        </a:lnTo>
                        <a:lnTo>
                          <a:pt x="12" y="1277"/>
                        </a:lnTo>
                        <a:lnTo>
                          <a:pt x="7" y="1274"/>
                        </a:lnTo>
                        <a:lnTo>
                          <a:pt x="3" y="1263"/>
                        </a:lnTo>
                        <a:lnTo>
                          <a:pt x="0" y="1244"/>
                        </a:lnTo>
                        <a:lnTo>
                          <a:pt x="3" y="1202"/>
                        </a:lnTo>
                        <a:lnTo>
                          <a:pt x="14" y="1164"/>
                        </a:lnTo>
                        <a:lnTo>
                          <a:pt x="29" y="1142"/>
                        </a:lnTo>
                        <a:lnTo>
                          <a:pt x="45" y="1113"/>
                        </a:lnTo>
                        <a:lnTo>
                          <a:pt x="52" y="1096"/>
                        </a:lnTo>
                        <a:lnTo>
                          <a:pt x="54" y="1073"/>
                        </a:lnTo>
                        <a:lnTo>
                          <a:pt x="53" y="1044"/>
                        </a:lnTo>
                        <a:lnTo>
                          <a:pt x="37" y="928"/>
                        </a:lnTo>
                        <a:lnTo>
                          <a:pt x="27" y="901"/>
                        </a:lnTo>
                        <a:lnTo>
                          <a:pt x="14" y="879"/>
                        </a:lnTo>
                        <a:lnTo>
                          <a:pt x="9" y="861"/>
                        </a:lnTo>
                        <a:lnTo>
                          <a:pt x="10" y="838"/>
                        </a:lnTo>
                        <a:lnTo>
                          <a:pt x="17" y="823"/>
                        </a:lnTo>
                        <a:lnTo>
                          <a:pt x="29" y="803"/>
                        </a:lnTo>
                        <a:lnTo>
                          <a:pt x="30" y="791"/>
                        </a:lnTo>
                        <a:lnTo>
                          <a:pt x="27" y="780"/>
                        </a:lnTo>
                        <a:lnTo>
                          <a:pt x="37" y="773"/>
                        </a:lnTo>
                        <a:lnTo>
                          <a:pt x="55" y="770"/>
                        </a:lnTo>
                        <a:lnTo>
                          <a:pt x="84" y="781"/>
                        </a:lnTo>
                        <a:lnTo>
                          <a:pt x="187" y="868"/>
                        </a:lnTo>
                        <a:lnTo>
                          <a:pt x="199" y="874"/>
                        </a:lnTo>
                        <a:lnTo>
                          <a:pt x="210" y="875"/>
                        </a:lnTo>
                        <a:lnTo>
                          <a:pt x="222" y="870"/>
                        </a:lnTo>
                        <a:lnTo>
                          <a:pt x="300" y="780"/>
                        </a:lnTo>
                        <a:lnTo>
                          <a:pt x="319" y="773"/>
                        </a:lnTo>
                        <a:lnTo>
                          <a:pt x="339" y="773"/>
                        </a:lnTo>
                        <a:lnTo>
                          <a:pt x="419" y="805"/>
                        </a:lnTo>
                        <a:lnTo>
                          <a:pt x="454" y="834"/>
                        </a:lnTo>
                        <a:lnTo>
                          <a:pt x="510" y="906"/>
                        </a:lnTo>
                        <a:lnTo>
                          <a:pt x="538" y="930"/>
                        </a:lnTo>
                        <a:lnTo>
                          <a:pt x="552" y="936"/>
                        </a:lnTo>
                        <a:lnTo>
                          <a:pt x="564" y="938"/>
                        </a:lnTo>
                        <a:lnTo>
                          <a:pt x="577" y="934"/>
                        </a:lnTo>
                        <a:lnTo>
                          <a:pt x="588" y="924"/>
                        </a:lnTo>
                        <a:lnTo>
                          <a:pt x="595" y="909"/>
                        </a:lnTo>
                        <a:lnTo>
                          <a:pt x="600" y="889"/>
                        </a:lnTo>
                        <a:lnTo>
                          <a:pt x="607" y="796"/>
                        </a:lnTo>
                        <a:lnTo>
                          <a:pt x="612" y="780"/>
                        </a:lnTo>
                        <a:lnTo>
                          <a:pt x="623" y="773"/>
                        </a:lnTo>
                        <a:lnTo>
                          <a:pt x="670" y="756"/>
                        </a:lnTo>
                        <a:lnTo>
                          <a:pt x="692" y="756"/>
                        </a:lnTo>
                        <a:lnTo>
                          <a:pt x="702" y="763"/>
                        </a:lnTo>
                        <a:lnTo>
                          <a:pt x="740" y="804"/>
                        </a:lnTo>
                        <a:lnTo>
                          <a:pt x="762" y="818"/>
                        </a:lnTo>
                        <a:lnTo>
                          <a:pt x="903" y="843"/>
                        </a:lnTo>
                        <a:lnTo>
                          <a:pt x="917" y="840"/>
                        </a:lnTo>
                        <a:lnTo>
                          <a:pt x="927" y="831"/>
                        </a:lnTo>
                        <a:lnTo>
                          <a:pt x="934" y="815"/>
                        </a:lnTo>
                        <a:lnTo>
                          <a:pt x="937" y="796"/>
                        </a:lnTo>
                        <a:lnTo>
                          <a:pt x="935" y="779"/>
                        </a:lnTo>
                        <a:lnTo>
                          <a:pt x="932" y="761"/>
                        </a:lnTo>
                        <a:lnTo>
                          <a:pt x="869" y="615"/>
                        </a:lnTo>
                        <a:lnTo>
                          <a:pt x="865" y="593"/>
                        </a:lnTo>
                        <a:lnTo>
                          <a:pt x="879" y="531"/>
                        </a:lnTo>
                        <a:lnTo>
                          <a:pt x="879" y="495"/>
                        </a:lnTo>
                        <a:lnTo>
                          <a:pt x="877" y="479"/>
                        </a:lnTo>
                        <a:lnTo>
                          <a:pt x="870" y="463"/>
                        </a:lnTo>
                        <a:lnTo>
                          <a:pt x="862" y="448"/>
                        </a:lnTo>
                        <a:lnTo>
                          <a:pt x="839" y="418"/>
                        </a:lnTo>
                        <a:lnTo>
                          <a:pt x="830" y="396"/>
                        </a:lnTo>
                        <a:lnTo>
                          <a:pt x="825" y="370"/>
                        </a:lnTo>
                        <a:lnTo>
                          <a:pt x="823" y="313"/>
                        </a:lnTo>
                        <a:lnTo>
                          <a:pt x="825" y="286"/>
                        </a:lnTo>
                        <a:lnTo>
                          <a:pt x="830" y="265"/>
                        </a:lnTo>
                        <a:lnTo>
                          <a:pt x="837" y="249"/>
                        </a:lnTo>
                        <a:lnTo>
                          <a:pt x="840" y="233"/>
                        </a:lnTo>
                        <a:lnTo>
                          <a:pt x="835" y="209"/>
                        </a:lnTo>
                        <a:lnTo>
                          <a:pt x="774" y="85"/>
                        </a:lnTo>
                        <a:lnTo>
                          <a:pt x="748" y="0"/>
                        </a:lnTo>
                        <a:lnTo>
                          <a:pt x="969" y="79"/>
                        </a:lnTo>
                        <a:lnTo>
                          <a:pt x="990" y="93"/>
                        </a:lnTo>
                        <a:lnTo>
                          <a:pt x="1014" y="130"/>
                        </a:lnTo>
                        <a:lnTo>
                          <a:pt x="1028" y="143"/>
                        </a:lnTo>
                        <a:lnTo>
                          <a:pt x="1048" y="149"/>
                        </a:lnTo>
                        <a:lnTo>
                          <a:pt x="1202" y="113"/>
                        </a:lnTo>
                        <a:lnTo>
                          <a:pt x="1247" y="116"/>
                        </a:lnTo>
                        <a:lnTo>
                          <a:pt x="1250" y="136"/>
                        </a:lnTo>
                        <a:lnTo>
                          <a:pt x="1257" y="154"/>
                        </a:lnTo>
                        <a:lnTo>
                          <a:pt x="1350" y="314"/>
                        </a:lnTo>
                        <a:lnTo>
                          <a:pt x="1362" y="318"/>
                        </a:lnTo>
                        <a:lnTo>
                          <a:pt x="1413" y="316"/>
                        </a:lnTo>
                        <a:lnTo>
                          <a:pt x="1522" y="275"/>
                        </a:lnTo>
                        <a:lnTo>
                          <a:pt x="1553" y="279"/>
                        </a:lnTo>
                        <a:lnTo>
                          <a:pt x="1578" y="303"/>
                        </a:lnTo>
                        <a:lnTo>
                          <a:pt x="1602" y="349"/>
                        </a:lnTo>
                        <a:lnTo>
                          <a:pt x="1618" y="389"/>
                        </a:lnTo>
                        <a:lnTo>
                          <a:pt x="1628" y="429"/>
                        </a:lnTo>
                        <a:lnTo>
                          <a:pt x="1623" y="463"/>
                        </a:lnTo>
                        <a:lnTo>
                          <a:pt x="1597" y="485"/>
                        </a:lnTo>
                        <a:lnTo>
                          <a:pt x="1592" y="504"/>
                        </a:lnTo>
                        <a:lnTo>
                          <a:pt x="1597" y="521"/>
                        </a:lnTo>
                        <a:lnTo>
                          <a:pt x="1675" y="506"/>
                        </a:lnTo>
                        <a:lnTo>
                          <a:pt x="1789" y="396"/>
                        </a:lnTo>
                        <a:lnTo>
                          <a:pt x="1868" y="404"/>
                        </a:lnTo>
                        <a:lnTo>
                          <a:pt x="1925" y="449"/>
                        </a:lnTo>
                        <a:lnTo>
                          <a:pt x="1954" y="461"/>
                        </a:lnTo>
                        <a:lnTo>
                          <a:pt x="1985" y="455"/>
                        </a:lnTo>
                        <a:lnTo>
                          <a:pt x="2008" y="426"/>
                        </a:lnTo>
                        <a:lnTo>
                          <a:pt x="2020" y="389"/>
                        </a:lnTo>
                        <a:lnTo>
                          <a:pt x="2034" y="360"/>
                        </a:lnTo>
                        <a:lnTo>
                          <a:pt x="2058" y="355"/>
                        </a:lnTo>
                        <a:lnTo>
                          <a:pt x="2125" y="356"/>
                        </a:lnTo>
                        <a:lnTo>
                          <a:pt x="2185" y="371"/>
                        </a:lnTo>
                        <a:lnTo>
                          <a:pt x="2242" y="404"/>
                        </a:lnTo>
                        <a:lnTo>
                          <a:pt x="2399" y="571"/>
                        </a:lnTo>
                        <a:lnTo>
                          <a:pt x="2415" y="626"/>
                        </a:lnTo>
                        <a:lnTo>
                          <a:pt x="2358" y="650"/>
                        </a:lnTo>
                        <a:lnTo>
                          <a:pt x="2365" y="673"/>
                        </a:lnTo>
                        <a:lnTo>
                          <a:pt x="2365" y="681"/>
                        </a:lnTo>
                        <a:lnTo>
                          <a:pt x="2352" y="706"/>
                        </a:lnTo>
                        <a:lnTo>
                          <a:pt x="2347" y="744"/>
                        </a:lnTo>
                        <a:lnTo>
                          <a:pt x="2347" y="761"/>
                        </a:lnTo>
                        <a:lnTo>
                          <a:pt x="2337" y="781"/>
                        </a:lnTo>
                        <a:lnTo>
                          <a:pt x="2298" y="819"/>
                        </a:lnTo>
                        <a:lnTo>
                          <a:pt x="2280" y="844"/>
                        </a:lnTo>
                        <a:lnTo>
                          <a:pt x="2249" y="850"/>
                        </a:lnTo>
                        <a:lnTo>
                          <a:pt x="2190" y="834"/>
                        </a:lnTo>
                        <a:lnTo>
                          <a:pt x="2160" y="844"/>
                        </a:lnTo>
                        <a:lnTo>
                          <a:pt x="2147" y="881"/>
                        </a:lnTo>
                        <a:lnTo>
                          <a:pt x="2119" y="905"/>
                        </a:lnTo>
                        <a:lnTo>
                          <a:pt x="2087" y="924"/>
                        </a:lnTo>
                        <a:lnTo>
                          <a:pt x="2058" y="948"/>
                        </a:lnTo>
                        <a:lnTo>
                          <a:pt x="2048" y="951"/>
                        </a:lnTo>
                        <a:lnTo>
                          <a:pt x="2032" y="963"/>
                        </a:lnTo>
                        <a:lnTo>
                          <a:pt x="2020" y="964"/>
                        </a:lnTo>
                        <a:lnTo>
                          <a:pt x="2033" y="1005"/>
                        </a:lnTo>
                        <a:lnTo>
                          <a:pt x="1995" y="996"/>
                        </a:lnTo>
                        <a:lnTo>
                          <a:pt x="1980" y="1043"/>
                        </a:lnTo>
                        <a:lnTo>
                          <a:pt x="1998" y="1094"/>
                        </a:lnTo>
                        <a:lnTo>
                          <a:pt x="2058" y="1105"/>
                        </a:lnTo>
                        <a:lnTo>
                          <a:pt x="2082" y="1179"/>
                        </a:lnTo>
                        <a:lnTo>
                          <a:pt x="2090" y="1196"/>
                        </a:lnTo>
                        <a:lnTo>
                          <a:pt x="2114" y="1215"/>
                        </a:lnTo>
                        <a:lnTo>
                          <a:pt x="2128" y="1213"/>
                        </a:lnTo>
                        <a:lnTo>
                          <a:pt x="2142" y="1201"/>
                        </a:lnTo>
                        <a:lnTo>
                          <a:pt x="2163" y="1194"/>
                        </a:lnTo>
                        <a:lnTo>
                          <a:pt x="2247" y="1194"/>
                        </a:lnTo>
                        <a:lnTo>
                          <a:pt x="2264" y="1199"/>
                        </a:lnTo>
                        <a:lnTo>
                          <a:pt x="2278" y="1226"/>
                        </a:lnTo>
                        <a:lnTo>
                          <a:pt x="2279" y="1253"/>
                        </a:lnTo>
                        <a:lnTo>
                          <a:pt x="2277" y="1279"/>
                        </a:lnTo>
                        <a:lnTo>
                          <a:pt x="2282" y="1305"/>
                        </a:lnTo>
                        <a:lnTo>
                          <a:pt x="2314" y="1349"/>
                        </a:lnTo>
                        <a:lnTo>
                          <a:pt x="2397" y="1379"/>
                        </a:lnTo>
                        <a:lnTo>
                          <a:pt x="2438" y="1408"/>
                        </a:lnTo>
                        <a:lnTo>
                          <a:pt x="2464" y="1445"/>
                        </a:lnTo>
                        <a:lnTo>
                          <a:pt x="2512" y="1530"/>
                        </a:lnTo>
                        <a:lnTo>
                          <a:pt x="2538" y="1568"/>
                        </a:lnTo>
                        <a:lnTo>
                          <a:pt x="2562" y="1610"/>
                        </a:lnTo>
                        <a:lnTo>
                          <a:pt x="2618" y="1668"/>
                        </a:lnTo>
                        <a:lnTo>
                          <a:pt x="2638" y="1723"/>
                        </a:lnTo>
                        <a:lnTo>
                          <a:pt x="2658" y="1822"/>
                        </a:lnTo>
                        <a:lnTo>
                          <a:pt x="2675" y="1857"/>
                        </a:lnTo>
                        <a:lnTo>
                          <a:pt x="2708" y="1899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2" name="Moravskoslezský" descr="{&quot;Key&quot;:&quot;moravskoslezský&quot;,&quot;Name&quot;:&quot;Moravskoslez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E887C0E6-E6BD-9427-616E-3AED53A340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45" y="1999"/>
                    <a:ext cx="1372" cy="1171"/>
                  </a:xfrm>
                  <a:custGeom>
                    <a:avLst/>
                    <a:gdLst>
                      <a:gd name="T0" fmla="*/ 2271 w 3143"/>
                      <a:gd name="T1" fmla="*/ 2671 h 2684"/>
                      <a:gd name="T2" fmla="*/ 2236 w 3143"/>
                      <a:gd name="T3" fmla="*/ 2542 h 2684"/>
                      <a:gd name="T4" fmla="*/ 2172 w 3143"/>
                      <a:gd name="T5" fmla="*/ 2480 h 2684"/>
                      <a:gd name="T6" fmla="*/ 1952 w 3143"/>
                      <a:gd name="T7" fmla="*/ 2376 h 2684"/>
                      <a:gd name="T8" fmla="*/ 1580 w 3143"/>
                      <a:gd name="T9" fmla="*/ 2354 h 2684"/>
                      <a:gd name="T10" fmla="*/ 1534 w 3143"/>
                      <a:gd name="T11" fmla="*/ 2320 h 2684"/>
                      <a:gd name="T12" fmla="*/ 1426 w 3143"/>
                      <a:gd name="T13" fmla="*/ 2259 h 2684"/>
                      <a:gd name="T14" fmla="*/ 1319 w 3143"/>
                      <a:gd name="T15" fmla="*/ 2159 h 2684"/>
                      <a:gd name="T16" fmla="*/ 1234 w 3143"/>
                      <a:gd name="T17" fmla="*/ 2044 h 2684"/>
                      <a:gd name="T18" fmla="*/ 1097 w 3143"/>
                      <a:gd name="T19" fmla="*/ 1874 h 2684"/>
                      <a:gd name="T20" fmla="*/ 1030 w 3143"/>
                      <a:gd name="T21" fmla="*/ 1900 h 2684"/>
                      <a:gd name="T22" fmla="*/ 1000 w 3143"/>
                      <a:gd name="T23" fmla="*/ 1851 h 2684"/>
                      <a:gd name="T24" fmla="*/ 956 w 3143"/>
                      <a:gd name="T25" fmla="*/ 1695 h 2684"/>
                      <a:gd name="T26" fmla="*/ 721 w 3143"/>
                      <a:gd name="T27" fmla="*/ 1641 h 2684"/>
                      <a:gd name="T28" fmla="*/ 565 w 3143"/>
                      <a:gd name="T29" fmla="*/ 1674 h 2684"/>
                      <a:gd name="T30" fmla="*/ 370 w 3143"/>
                      <a:gd name="T31" fmla="*/ 1504 h 2684"/>
                      <a:gd name="T32" fmla="*/ 140 w 3143"/>
                      <a:gd name="T33" fmla="*/ 1444 h 2684"/>
                      <a:gd name="T34" fmla="*/ 117 w 3143"/>
                      <a:gd name="T35" fmla="*/ 1392 h 2684"/>
                      <a:gd name="T36" fmla="*/ 1 w 3143"/>
                      <a:gd name="T37" fmla="*/ 1351 h 2684"/>
                      <a:gd name="T38" fmla="*/ 17 w 3143"/>
                      <a:gd name="T39" fmla="*/ 1204 h 2684"/>
                      <a:gd name="T40" fmla="*/ 17 w 3143"/>
                      <a:gd name="T41" fmla="*/ 1057 h 2684"/>
                      <a:gd name="T42" fmla="*/ 6 w 3143"/>
                      <a:gd name="T43" fmla="*/ 995 h 2684"/>
                      <a:gd name="T44" fmla="*/ 135 w 3143"/>
                      <a:gd name="T45" fmla="*/ 797 h 2684"/>
                      <a:gd name="T46" fmla="*/ 116 w 3143"/>
                      <a:gd name="T47" fmla="*/ 674 h 2684"/>
                      <a:gd name="T48" fmla="*/ 147 w 3143"/>
                      <a:gd name="T49" fmla="*/ 574 h 2684"/>
                      <a:gd name="T50" fmla="*/ 336 w 3143"/>
                      <a:gd name="T51" fmla="*/ 424 h 2684"/>
                      <a:gd name="T52" fmla="*/ 410 w 3143"/>
                      <a:gd name="T53" fmla="*/ 350 h 2684"/>
                      <a:gd name="T54" fmla="*/ 473 w 3143"/>
                      <a:gd name="T55" fmla="*/ 350 h 2684"/>
                      <a:gd name="T56" fmla="*/ 498 w 3143"/>
                      <a:gd name="T57" fmla="*/ 294 h 2684"/>
                      <a:gd name="T58" fmla="*/ 536 w 3143"/>
                      <a:gd name="T59" fmla="*/ 216 h 2684"/>
                      <a:gd name="T60" fmla="*/ 620 w 3143"/>
                      <a:gd name="T61" fmla="*/ 144 h 2684"/>
                      <a:gd name="T62" fmla="*/ 946 w 3143"/>
                      <a:gd name="T63" fmla="*/ 127 h 2684"/>
                      <a:gd name="T64" fmla="*/ 1028 w 3143"/>
                      <a:gd name="T65" fmla="*/ 0 h 2684"/>
                      <a:gd name="T66" fmla="*/ 1108 w 3143"/>
                      <a:gd name="T67" fmla="*/ 91 h 2684"/>
                      <a:gd name="T68" fmla="*/ 1085 w 3143"/>
                      <a:gd name="T69" fmla="*/ 210 h 2684"/>
                      <a:gd name="T70" fmla="*/ 1078 w 3143"/>
                      <a:gd name="T71" fmla="*/ 359 h 2684"/>
                      <a:gd name="T72" fmla="*/ 841 w 3143"/>
                      <a:gd name="T73" fmla="*/ 439 h 2684"/>
                      <a:gd name="T74" fmla="*/ 950 w 3143"/>
                      <a:gd name="T75" fmla="*/ 615 h 2684"/>
                      <a:gd name="T76" fmla="*/ 1027 w 3143"/>
                      <a:gd name="T77" fmla="*/ 605 h 2684"/>
                      <a:gd name="T78" fmla="*/ 1087 w 3143"/>
                      <a:gd name="T79" fmla="*/ 660 h 2684"/>
                      <a:gd name="T80" fmla="*/ 1125 w 3143"/>
                      <a:gd name="T81" fmla="*/ 734 h 2684"/>
                      <a:gd name="T82" fmla="*/ 1182 w 3143"/>
                      <a:gd name="T83" fmla="*/ 865 h 2684"/>
                      <a:gd name="T84" fmla="*/ 1491 w 3143"/>
                      <a:gd name="T85" fmla="*/ 929 h 2684"/>
                      <a:gd name="T86" fmla="*/ 1667 w 3143"/>
                      <a:gd name="T87" fmla="*/ 887 h 2684"/>
                      <a:gd name="T88" fmla="*/ 1621 w 3143"/>
                      <a:gd name="T89" fmla="*/ 842 h 2684"/>
                      <a:gd name="T90" fmla="*/ 1767 w 3143"/>
                      <a:gd name="T91" fmla="*/ 859 h 2684"/>
                      <a:gd name="T92" fmla="*/ 1925 w 3143"/>
                      <a:gd name="T93" fmla="*/ 977 h 2684"/>
                      <a:gd name="T94" fmla="*/ 2071 w 3143"/>
                      <a:gd name="T95" fmla="*/ 1062 h 2684"/>
                      <a:gd name="T96" fmla="*/ 2138 w 3143"/>
                      <a:gd name="T97" fmla="*/ 1172 h 2684"/>
                      <a:gd name="T98" fmla="*/ 2205 w 3143"/>
                      <a:gd name="T99" fmla="*/ 1112 h 2684"/>
                      <a:gd name="T100" fmla="*/ 2530 w 3143"/>
                      <a:gd name="T101" fmla="*/ 1205 h 2684"/>
                      <a:gd name="T102" fmla="*/ 2637 w 3143"/>
                      <a:gd name="T103" fmla="*/ 1270 h 2684"/>
                      <a:gd name="T104" fmla="*/ 2643 w 3143"/>
                      <a:gd name="T105" fmla="*/ 1467 h 2684"/>
                      <a:gd name="T106" fmla="*/ 2750 w 3143"/>
                      <a:gd name="T107" fmla="*/ 1749 h 2684"/>
                      <a:gd name="T108" fmla="*/ 2881 w 3143"/>
                      <a:gd name="T109" fmla="*/ 1799 h 2684"/>
                      <a:gd name="T110" fmla="*/ 2997 w 3143"/>
                      <a:gd name="T111" fmla="*/ 1841 h 2684"/>
                      <a:gd name="T112" fmla="*/ 3073 w 3143"/>
                      <a:gd name="T113" fmla="*/ 1977 h 2684"/>
                      <a:gd name="T114" fmla="*/ 3138 w 3143"/>
                      <a:gd name="T115" fmla="*/ 2201 h 2684"/>
                      <a:gd name="T116" fmla="*/ 3026 w 3143"/>
                      <a:gd name="T117" fmla="*/ 2322 h 2684"/>
                      <a:gd name="T118" fmla="*/ 2785 w 3143"/>
                      <a:gd name="T119" fmla="*/ 2349 h 2684"/>
                      <a:gd name="T120" fmla="*/ 2625 w 3143"/>
                      <a:gd name="T121" fmla="*/ 2365 h 2684"/>
                      <a:gd name="T122" fmla="*/ 2563 w 3143"/>
                      <a:gd name="T123" fmla="*/ 2490 h 2684"/>
                      <a:gd name="T124" fmla="*/ 2367 w 3143"/>
                      <a:gd name="T125" fmla="*/ 2661 h 2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3143" h="2684">
                        <a:moveTo>
                          <a:pt x="2312" y="2684"/>
                        </a:moveTo>
                        <a:lnTo>
                          <a:pt x="2292" y="2684"/>
                        </a:lnTo>
                        <a:lnTo>
                          <a:pt x="2281" y="2679"/>
                        </a:lnTo>
                        <a:lnTo>
                          <a:pt x="2271" y="2671"/>
                        </a:lnTo>
                        <a:lnTo>
                          <a:pt x="2262" y="2659"/>
                        </a:lnTo>
                        <a:lnTo>
                          <a:pt x="2256" y="2642"/>
                        </a:lnTo>
                        <a:lnTo>
                          <a:pt x="2241" y="2561"/>
                        </a:lnTo>
                        <a:lnTo>
                          <a:pt x="2236" y="2542"/>
                        </a:lnTo>
                        <a:lnTo>
                          <a:pt x="2227" y="2527"/>
                        </a:lnTo>
                        <a:lnTo>
                          <a:pt x="2216" y="2514"/>
                        </a:lnTo>
                        <a:lnTo>
                          <a:pt x="2185" y="2494"/>
                        </a:lnTo>
                        <a:lnTo>
                          <a:pt x="2172" y="2480"/>
                        </a:lnTo>
                        <a:lnTo>
                          <a:pt x="2134" y="2397"/>
                        </a:lnTo>
                        <a:lnTo>
                          <a:pt x="2125" y="2386"/>
                        </a:lnTo>
                        <a:lnTo>
                          <a:pt x="2092" y="2375"/>
                        </a:lnTo>
                        <a:lnTo>
                          <a:pt x="1952" y="2376"/>
                        </a:lnTo>
                        <a:lnTo>
                          <a:pt x="1940" y="2372"/>
                        </a:lnTo>
                        <a:lnTo>
                          <a:pt x="1885" y="2332"/>
                        </a:lnTo>
                        <a:lnTo>
                          <a:pt x="1867" y="2325"/>
                        </a:lnTo>
                        <a:lnTo>
                          <a:pt x="1580" y="2354"/>
                        </a:lnTo>
                        <a:lnTo>
                          <a:pt x="1563" y="2351"/>
                        </a:lnTo>
                        <a:lnTo>
                          <a:pt x="1551" y="2344"/>
                        </a:lnTo>
                        <a:lnTo>
                          <a:pt x="1541" y="2334"/>
                        </a:lnTo>
                        <a:lnTo>
                          <a:pt x="1534" y="2320"/>
                        </a:lnTo>
                        <a:lnTo>
                          <a:pt x="1526" y="2284"/>
                        </a:lnTo>
                        <a:lnTo>
                          <a:pt x="1521" y="2272"/>
                        </a:lnTo>
                        <a:lnTo>
                          <a:pt x="1507" y="2260"/>
                        </a:lnTo>
                        <a:lnTo>
                          <a:pt x="1426" y="2259"/>
                        </a:lnTo>
                        <a:lnTo>
                          <a:pt x="1397" y="2226"/>
                        </a:lnTo>
                        <a:lnTo>
                          <a:pt x="1375" y="2209"/>
                        </a:lnTo>
                        <a:lnTo>
                          <a:pt x="1322" y="2195"/>
                        </a:lnTo>
                        <a:lnTo>
                          <a:pt x="1319" y="2159"/>
                        </a:lnTo>
                        <a:lnTo>
                          <a:pt x="1310" y="2127"/>
                        </a:lnTo>
                        <a:lnTo>
                          <a:pt x="1304" y="2112"/>
                        </a:lnTo>
                        <a:lnTo>
                          <a:pt x="1284" y="2086"/>
                        </a:lnTo>
                        <a:lnTo>
                          <a:pt x="1234" y="2044"/>
                        </a:lnTo>
                        <a:lnTo>
                          <a:pt x="1176" y="2016"/>
                        </a:lnTo>
                        <a:lnTo>
                          <a:pt x="1163" y="2004"/>
                        </a:lnTo>
                        <a:lnTo>
                          <a:pt x="1107" y="1885"/>
                        </a:lnTo>
                        <a:lnTo>
                          <a:pt x="1097" y="1874"/>
                        </a:lnTo>
                        <a:lnTo>
                          <a:pt x="1086" y="1871"/>
                        </a:lnTo>
                        <a:lnTo>
                          <a:pt x="1076" y="1875"/>
                        </a:lnTo>
                        <a:lnTo>
                          <a:pt x="1042" y="1897"/>
                        </a:lnTo>
                        <a:lnTo>
                          <a:pt x="1030" y="1900"/>
                        </a:lnTo>
                        <a:lnTo>
                          <a:pt x="1017" y="1896"/>
                        </a:lnTo>
                        <a:lnTo>
                          <a:pt x="1007" y="1885"/>
                        </a:lnTo>
                        <a:lnTo>
                          <a:pt x="1001" y="1870"/>
                        </a:lnTo>
                        <a:lnTo>
                          <a:pt x="1000" y="1851"/>
                        </a:lnTo>
                        <a:lnTo>
                          <a:pt x="1010" y="1756"/>
                        </a:lnTo>
                        <a:lnTo>
                          <a:pt x="1007" y="1744"/>
                        </a:lnTo>
                        <a:lnTo>
                          <a:pt x="998" y="1731"/>
                        </a:lnTo>
                        <a:lnTo>
                          <a:pt x="956" y="1695"/>
                        </a:lnTo>
                        <a:lnTo>
                          <a:pt x="903" y="1669"/>
                        </a:lnTo>
                        <a:lnTo>
                          <a:pt x="836" y="1691"/>
                        </a:lnTo>
                        <a:lnTo>
                          <a:pt x="788" y="1687"/>
                        </a:lnTo>
                        <a:lnTo>
                          <a:pt x="721" y="1641"/>
                        </a:lnTo>
                        <a:lnTo>
                          <a:pt x="711" y="1641"/>
                        </a:lnTo>
                        <a:lnTo>
                          <a:pt x="701" y="1646"/>
                        </a:lnTo>
                        <a:lnTo>
                          <a:pt x="659" y="1679"/>
                        </a:lnTo>
                        <a:lnTo>
                          <a:pt x="565" y="1674"/>
                        </a:lnTo>
                        <a:lnTo>
                          <a:pt x="537" y="1660"/>
                        </a:lnTo>
                        <a:lnTo>
                          <a:pt x="396" y="1506"/>
                        </a:lnTo>
                        <a:lnTo>
                          <a:pt x="382" y="1501"/>
                        </a:lnTo>
                        <a:lnTo>
                          <a:pt x="370" y="1504"/>
                        </a:lnTo>
                        <a:lnTo>
                          <a:pt x="317" y="1532"/>
                        </a:lnTo>
                        <a:lnTo>
                          <a:pt x="305" y="1531"/>
                        </a:lnTo>
                        <a:lnTo>
                          <a:pt x="147" y="1451"/>
                        </a:lnTo>
                        <a:lnTo>
                          <a:pt x="140" y="1444"/>
                        </a:lnTo>
                        <a:lnTo>
                          <a:pt x="135" y="1435"/>
                        </a:lnTo>
                        <a:lnTo>
                          <a:pt x="130" y="1405"/>
                        </a:lnTo>
                        <a:lnTo>
                          <a:pt x="126" y="1397"/>
                        </a:lnTo>
                        <a:lnTo>
                          <a:pt x="117" y="1392"/>
                        </a:lnTo>
                        <a:lnTo>
                          <a:pt x="39" y="1381"/>
                        </a:lnTo>
                        <a:lnTo>
                          <a:pt x="14" y="1371"/>
                        </a:lnTo>
                        <a:lnTo>
                          <a:pt x="6" y="1361"/>
                        </a:lnTo>
                        <a:lnTo>
                          <a:pt x="1" y="1351"/>
                        </a:lnTo>
                        <a:lnTo>
                          <a:pt x="0" y="1339"/>
                        </a:lnTo>
                        <a:lnTo>
                          <a:pt x="9" y="1234"/>
                        </a:lnTo>
                        <a:lnTo>
                          <a:pt x="12" y="1217"/>
                        </a:lnTo>
                        <a:lnTo>
                          <a:pt x="17" y="1204"/>
                        </a:lnTo>
                        <a:lnTo>
                          <a:pt x="70" y="1134"/>
                        </a:lnTo>
                        <a:lnTo>
                          <a:pt x="74" y="1125"/>
                        </a:lnTo>
                        <a:lnTo>
                          <a:pt x="69" y="1107"/>
                        </a:lnTo>
                        <a:lnTo>
                          <a:pt x="17" y="1057"/>
                        </a:lnTo>
                        <a:lnTo>
                          <a:pt x="10" y="1042"/>
                        </a:lnTo>
                        <a:lnTo>
                          <a:pt x="6" y="1027"/>
                        </a:lnTo>
                        <a:lnTo>
                          <a:pt x="5" y="1011"/>
                        </a:lnTo>
                        <a:lnTo>
                          <a:pt x="6" y="995"/>
                        </a:lnTo>
                        <a:lnTo>
                          <a:pt x="11" y="979"/>
                        </a:lnTo>
                        <a:lnTo>
                          <a:pt x="19" y="965"/>
                        </a:lnTo>
                        <a:lnTo>
                          <a:pt x="129" y="810"/>
                        </a:lnTo>
                        <a:lnTo>
                          <a:pt x="135" y="797"/>
                        </a:lnTo>
                        <a:lnTo>
                          <a:pt x="136" y="785"/>
                        </a:lnTo>
                        <a:lnTo>
                          <a:pt x="136" y="771"/>
                        </a:lnTo>
                        <a:lnTo>
                          <a:pt x="115" y="686"/>
                        </a:lnTo>
                        <a:lnTo>
                          <a:pt x="116" y="674"/>
                        </a:lnTo>
                        <a:lnTo>
                          <a:pt x="121" y="662"/>
                        </a:lnTo>
                        <a:lnTo>
                          <a:pt x="140" y="632"/>
                        </a:lnTo>
                        <a:lnTo>
                          <a:pt x="143" y="617"/>
                        </a:lnTo>
                        <a:lnTo>
                          <a:pt x="147" y="574"/>
                        </a:lnTo>
                        <a:lnTo>
                          <a:pt x="153" y="554"/>
                        </a:lnTo>
                        <a:lnTo>
                          <a:pt x="162" y="536"/>
                        </a:lnTo>
                        <a:lnTo>
                          <a:pt x="187" y="507"/>
                        </a:lnTo>
                        <a:lnTo>
                          <a:pt x="336" y="424"/>
                        </a:lnTo>
                        <a:lnTo>
                          <a:pt x="378" y="361"/>
                        </a:lnTo>
                        <a:lnTo>
                          <a:pt x="388" y="352"/>
                        </a:lnTo>
                        <a:lnTo>
                          <a:pt x="398" y="349"/>
                        </a:lnTo>
                        <a:lnTo>
                          <a:pt x="410" y="350"/>
                        </a:lnTo>
                        <a:lnTo>
                          <a:pt x="436" y="366"/>
                        </a:lnTo>
                        <a:lnTo>
                          <a:pt x="448" y="366"/>
                        </a:lnTo>
                        <a:lnTo>
                          <a:pt x="461" y="361"/>
                        </a:lnTo>
                        <a:lnTo>
                          <a:pt x="473" y="350"/>
                        </a:lnTo>
                        <a:lnTo>
                          <a:pt x="483" y="336"/>
                        </a:lnTo>
                        <a:lnTo>
                          <a:pt x="491" y="322"/>
                        </a:lnTo>
                        <a:lnTo>
                          <a:pt x="496" y="307"/>
                        </a:lnTo>
                        <a:lnTo>
                          <a:pt x="498" y="294"/>
                        </a:lnTo>
                        <a:lnTo>
                          <a:pt x="470" y="122"/>
                        </a:lnTo>
                        <a:lnTo>
                          <a:pt x="510" y="156"/>
                        </a:lnTo>
                        <a:lnTo>
                          <a:pt x="527" y="210"/>
                        </a:lnTo>
                        <a:lnTo>
                          <a:pt x="536" y="216"/>
                        </a:lnTo>
                        <a:lnTo>
                          <a:pt x="546" y="217"/>
                        </a:lnTo>
                        <a:lnTo>
                          <a:pt x="556" y="216"/>
                        </a:lnTo>
                        <a:lnTo>
                          <a:pt x="565" y="210"/>
                        </a:lnTo>
                        <a:lnTo>
                          <a:pt x="620" y="144"/>
                        </a:lnTo>
                        <a:lnTo>
                          <a:pt x="707" y="135"/>
                        </a:lnTo>
                        <a:lnTo>
                          <a:pt x="872" y="165"/>
                        </a:lnTo>
                        <a:lnTo>
                          <a:pt x="915" y="154"/>
                        </a:lnTo>
                        <a:lnTo>
                          <a:pt x="946" y="127"/>
                        </a:lnTo>
                        <a:lnTo>
                          <a:pt x="1001" y="51"/>
                        </a:lnTo>
                        <a:lnTo>
                          <a:pt x="1011" y="27"/>
                        </a:lnTo>
                        <a:lnTo>
                          <a:pt x="1016" y="9"/>
                        </a:lnTo>
                        <a:lnTo>
                          <a:pt x="1028" y="0"/>
                        </a:lnTo>
                        <a:lnTo>
                          <a:pt x="1060" y="12"/>
                        </a:lnTo>
                        <a:lnTo>
                          <a:pt x="1070" y="21"/>
                        </a:lnTo>
                        <a:lnTo>
                          <a:pt x="1108" y="74"/>
                        </a:lnTo>
                        <a:lnTo>
                          <a:pt x="1108" y="91"/>
                        </a:lnTo>
                        <a:lnTo>
                          <a:pt x="1103" y="100"/>
                        </a:lnTo>
                        <a:lnTo>
                          <a:pt x="1083" y="154"/>
                        </a:lnTo>
                        <a:lnTo>
                          <a:pt x="1080" y="180"/>
                        </a:lnTo>
                        <a:lnTo>
                          <a:pt x="1085" y="210"/>
                        </a:lnTo>
                        <a:lnTo>
                          <a:pt x="1103" y="229"/>
                        </a:lnTo>
                        <a:lnTo>
                          <a:pt x="1132" y="282"/>
                        </a:lnTo>
                        <a:lnTo>
                          <a:pt x="1115" y="326"/>
                        </a:lnTo>
                        <a:lnTo>
                          <a:pt x="1078" y="359"/>
                        </a:lnTo>
                        <a:lnTo>
                          <a:pt x="1000" y="405"/>
                        </a:lnTo>
                        <a:lnTo>
                          <a:pt x="950" y="425"/>
                        </a:lnTo>
                        <a:lnTo>
                          <a:pt x="861" y="429"/>
                        </a:lnTo>
                        <a:lnTo>
                          <a:pt x="841" y="439"/>
                        </a:lnTo>
                        <a:lnTo>
                          <a:pt x="827" y="467"/>
                        </a:lnTo>
                        <a:lnTo>
                          <a:pt x="831" y="489"/>
                        </a:lnTo>
                        <a:lnTo>
                          <a:pt x="921" y="602"/>
                        </a:lnTo>
                        <a:lnTo>
                          <a:pt x="950" y="615"/>
                        </a:lnTo>
                        <a:lnTo>
                          <a:pt x="968" y="612"/>
                        </a:lnTo>
                        <a:lnTo>
                          <a:pt x="983" y="602"/>
                        </a:lnTo>
                        <a:lnTo>
                          <a:pt x="1003" y="599"/>
                        </a:lnTo>
                        <a:lnTo>
                          <a:pt x="1027" y="605"/>
                        </a:lnTo>
                        <a:lnTo>
                          <a:pt x="1078" y="630"/>
                        </a:lnTo>
                        <a:lnTo>
                          <a:pt x="1103" y="635"/>
                        </a:lnTo>
                        <a:lnTo>
                          <a:pt x="1103" y="645"/>
                        </a:lnTo>
                        <a:lnTo>
                          <a:pt x="1087" y="660"/>
                        </a:lnTo>
                        <a:lnTo>
                          <a:pt x="1081" y="676"/>
                        </a:lnTo>
                        <a:lnTo>
                          <a:pt x="1086" y="692"/>
                        </a:lnTo>
                        <a:lnTo>
                          <a:pt x="1103" y="710"/>
                        </a:lnTo>
                        <a:lnTo>
                          <a:pt x="1125" y="734"/>
                        </a:lnTo>
                        <a:lnTo>
                          <a:pt x="1137" y="766"/>
                        </a:lnTo>
                        <a:lnTo>
                          <a:pt x="1147" y="801"/>
                        </a:lnTo>
                        <a:lnTo>
                          <a:pt x="1162" y="836"/>
                        </a:lnTo>
                        <a:lnTo>
                          <a:pt x="1182" y="865"/>
                        </a:lnTo>
                        <a:lnTo>
                          <a:pt x="1302" y="984"/>
                        </a:lnTo>
                        <a:lnTo>
                          <a:pt x="1368" y="997"/>
                        </a:lnTo>
                        <a:lnTo>
                          <a:pt x="1436" y="977"/>
                        </a:lnTo>
                        <a:lnTo>
                          <a:pt x="1491" y="929"/>
                        </a:lnTo>
                        <a:lnTo>
                          <a:pt x="1525" y="920"/>
                        </a:lnTo>
                        <a:lnTo>
                          <a:pt x="1598" y="917"/>
                        </a:lnTo>
                        <a:lnTo>
                          <a:pt x="1658" y="900"/>
                        </a:lnTo>
                        <a:lnTo>
                          <a:pt x="1667" y="887"/>
                        </a:lnTo>
                        <a:lnTo>
                          <a:pt x="1665" y="859"/>
                        </a:lnTo>
                        <a:lnTo>
                          <a:pt x="1651" y="839"/>
                        </a:lnTo>
                        <a:lnTo>
                          <a:pt x="1636" y="839"/>
                        </a:lnTo>
                        <a:lnTo>
                          <a:pt x="1621" y="842"/>
                        </a:lnTo>
                        <a:lnTo>
                          <a:pt x="1611" y="839"/>
                        </a:lnTo>
                        <a:lnTo>
                          <a:pt x="1603" y="774"/>
                        </a:lnTo>
                        <a:lnTo>
                          <a:pt x="1660" y="787"/>
                        </a:lnTo>
                        <a:lnTo>
                          <a:pt x="1767" y="859"/>
                        </a:lnTo>
                        <a:lnTo>
                          <a:pt x="1756" y="911"/>
                        </a:lnTo>
                        <a:lnTo>
                          <a:pt x="1780" y="940"/>
                        </a:lnTo>
                        <a:lnTo>
                          <a:pt x="1897" y="962"/>
                        </a:lnTo>
                        <a:lnTo>
                          <a:pt x="1925" y="977"/>
                        </a:lnTo>
                        <a:lnTo>
                          <a:pt x="1983" y="1027"/>
                        </a:lnTo>
                        <a:lnTo>
                          <a:pt x="2005" y="1037"/>
                        </a:lnTo>
                        <a:lnTo>
                          <a:pt x="2048" y="1046"/>
                        </a:lnTo>
                        <a:lnTo>
                          <a:pt x="2071" y="1062"/>
                        </a:lnTo>
                        <a:lnTo>
                          <a:pt x="2078" y="1079"/>
                        </a:lnTo>
                        <a:lnTo>
                          <a:pt x="2091" y="1124"/>
                        </a:lnTo>
                        <a:lnTo>
                          <a:pt x="2101" y="1142"/>
                        </a:lnTo>
                        <a:lnTo>
                          <a:pt x="2138" y="1172"/>
                        </a:lnTo>
                        <a:lnTo>
                          <a:pt x="2165" y="1167"/>
                        </a:lnTo>
                        <a:lnTo>
                          <a:pt x="2216" y="1122"/>
                        </a:lnTo>
                        <a:lnTo>
                          <a:pt x="2212" y="1114"/>
                        </a:lnTo>
                        <a:lnTo>
                          <a:pt x="2205" y="1112"/>
                        </a:lnTo>
                        <a:lnTo>
                          <a:pt x="2278" y="1104"/>
                        </a:lnTo>
                        <a:lnTo>
                          <a:pt x="2350" y="1129"/>
                        </a:lnTo>
                        <a:lnTo>
                          <a:pt x="2487" y="1205"/>
                        </a:lnTo>
                        <a:lnTo>
                          <a:pt x="2530" y="1205"/>
                        </a:lnTo>
                        <a:lnTo>
                          <a:pt x="2603" y="1157"/>
                        </a:lnTo>
                        <a:lnTo>
                          <a:pt x="2630" y="1175"/>
                        </a:lnTo>
                        <a:lnTo>
                          <a:pt x="2641" y="1226"/>
                        </a:lnTo>
                        <a:lnTo>
                          <a:pt x="2637" y="1270"/>
                        </a:lnTo>
                        <a:lnTo>
                          <a:pt x="2645" y="1305"/>
                        </a:lnTo>
                        <a:lnTo>
                          <a:pt x="2693" y="1332"/>
                        </a:lnTo>
                        <a:lnTo>
                          <a:pt x="2643" y="1391"/>
                        </a:lnTo>
                        <a:lnTo>
                          <a:pt x="2643" y="1467"/>
                        </a:lnTo>
                        <a:lnTo>
                          <a:pt x="2676" y="1555"/>
                        </a:lnTo>
                        <a:lnTo>
                          <a:pt x="2720" y="1644"/>
                        </a:lnTo>
                        <a:lnTo>
                          <a:pt x="2738" y="1727"/>
                        </a:lnTo>
                        <a:lnTo>
                          <a:pt x="2750" y="1749"/>
                        </a:lnTo>
                        <a:lnTo>
                          <a:pt x="2775" y="1766"/>
                        </a:lnTo>
                        <a:lnTo>
                          <a:pt x="2831" y="1771"/>
                        </a:lnTo>
                        <a:lnTo>
                          <a:pt x="2857" y="1779"/>
                        </a:lnTo>
                        <a:lnTo>
                          <a:pt x="2881" y="1799"/>
                        </a:lnTo>
                        <a:lnTo>
                          <a:pt x="2917" y="1841"/>
                        </a:lnTo>
                        <a:lnTo>
                          <a:pt x="2941" y="1856"/>
                        </a:lnTo>
                        <a:lnTo>
                          <a:pt x="2967" y="1854"/>
                        </a:lnTo>
                        <a:lnTo>
                          <a:pt x="2997" y="1841"/>
                        </a:lnTo>
                        <a:lnTo>
                          <a:pt x="3026" y="1836"/>
                        </a:lnTo>
                        <a:lnTo>
                          <a:pt x="3053" y="1856"/>
                        </a:lnTo>
                        <a:lnTo>
                          <a:pt x="3061" y="1879"/>
                        </a:lnTo>
                        <a:lnTo>
                          <a:pt x="3073" y="1977"/>
                        </a:lnTo>
                        <a:lnTo>
                          <a:pt x="3082" y="2004"/>
                        </a:lnTo>
                        <a:lnTo>
                          <a:pt x="3103" y="2054"/>
                        </a:lnTo>
                        <a:lnTo>
                          <a:pt x="3112" y="2080"/>
                        </a:lnTo>
                        <a:lnTo>
                          <a:pt x="3138" y="2201"/>
                        </a:lnTo>
                        <a:lnTo>
                          <a:pt x="3143" y="2260"/>
                        </a:lnTo>
                        <a:lnTo>
                          <a:pt x="3136" y="2307"/>
                        </a:lnTo>
                        <a:lnTo>
                          <a:pt x="3060" y="2310"/>
                        </a:lnTo>
                        <a:lnTo>
                          <a:pt x="3026" y="2322"/>
                        </a:lnTo>
                        <a:lnTo>
                          <a:pt x="2950" y="2392"/>
                        </a:lnTo>
                        <a:lnTo>
                          <a:pt x="2898" y="2395"/>
                        </a:lnTo>
                        <a:lnTo>
                          <a:pt x="2845" y="2379"/>
                        </a:lnTo>
                        <a:lnTo>
                          <a:pt x="2785" y="2349"/>
                        </a:lnTo>
                        <a:lnTo>
                          <a:pt x="2772" y="2346"/>
                        </a:lnTo>
                        <a:lnTo>
                          <a:pt x="2758" y="2349"/>
                        </a:lnTo>
                        <a:lnTo>
                          <a:pt x="2706" y="2376"/>
                        </a:lnTo>
                        <a:lnTo>
                          <a:pt x="2625" y="2365"/>
                        </a:lnTo>
                        <a:lnTo>
                          <a:pt x="2587" y="2389"/>
                        </a:lnTo>
                        <a:lnTo>
                          <a:pt x="2577" y="2412"/>
                        </a:lnTo>
                        <a:lnTo>
                          <a:pt x="2572" y="2465"/>
                        </a:lnTo>
                        <a:lnTo>
                          <a:pt x="2563" y="2490"/>
                        </a:lnTo>
                        <a:lnTo>
                          <a:pt x="2548" y="2505"/>
                        </a:lnTo>
                        <a:lnTo>
                          <a:pt x="2487" y="2537"/>
                        </a:lnTo>
                        <a:lnTo>
                          <a:pt x="2408" y="2635"/>
                        </a:lnTo>
                        <a:lnTo>
                          <a:pt x="2367" y="2661"/>
                        </a:lnTo>
                        <a:lnTo>
                          <a:pt x="2313" y="2650"/>
                        </a:lnTo>
                        <a:lnTo>
                          <a:pt x="2312" y="2684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3" name="Jihomoravský" descr="{&quot;Key&quot;:&quot;jihomoravský&quot;,&quot;Name&quot;:&quot;Jihomorav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0FBD7E46-F8A0-EF4C-8AD0-8D0E51C9B88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65" y="2852"/>
                    <a:ext cx="1693" cy="1268"/>
                  </a:xfrm>
                  <a:custGeom>
                    <a:avLst/>
                    <a:gdLst>
                      <a:gd name="T0" fmla="*/ 2202 w 3878"/>
                      <a:gd name="T1" fmla="*/ 130 h 2905"/>
                      <a:gd name="T2" fmla="*/ 2295 w 3878"/>
                      <a:gd name="T3" fmla="*/ 304 h 2905"/>
                      <a:gd name="T4" fmla="*/ 2277 w 3878"/>
                      <a:gd name="T5" fmla="*/ 384 h 2905"/>
                      <a:gd name="T6" fmla="*/ 2307 w 3878"/>
                      <a:gd name="T7" fmla="*/ 574 h 2905"/>
                      <a:gd name="T8" fmla="*/ 2413 w 3878"/>
                      <a:gd name="T9" fmla="*/ 705 h 2905"/>
                      <a:gd name="T10" fmla="*/ 2504 w 3878"/>
                      <a:gd name="T11" fmla="*/ 585 h 2905"/>
                      <a:gd name="T12" fmla="*/ 2450 w 3878"/>
                      <a:gd name="T13" fmla="*/ 402 h 2905"/>
                      <a:gd name="T14" fmla="*/ 2588 w 3878"/>
                      <a:gd name="T15" fmla="*/ 414 h 2905"/>
                      <a:gd name="T16" fmla="*/ 2740 w 3878"/>
                      <a:gd name="T17" fmla="*/ 672 h 2905"/>
                      <a:gd name="T18" fmla="*/ 2798 w 3878"/>
                      <a:gd name="T19" fmla="*/ 811 h 2905"/>
                      <a:gd name="T20" fmla="*/ 2964 w 3878"/>
                      <a:gd name="T21" fmla="*/ 1008 h 2905"/>
                      <a:gd name="T22" fmla="*/ 2941 w 3878"/>
                      <a:gd name="T23" fmla="*/ 1185 h 2905"/>
                      <a:gd name="T24" fmla="*/ 3058 w 3878"/>
                      <a:gd name="T25" fmla="*/ 1335 h 2905"/>
                      <a:gd name="T26" fmla="*/ 2965 w 3878"/>
                      <a:gd name="T27" fmla="*/ 1420 h 2905"/>
                      <a:gd name="T28" fmla="*/ 2914 w 3878"/>
                      <a:gd name="T29" fmla="*/ 1563 h 2905"/>
                      <a:gd name="T30" fmla="*/ 3099 w 3878"/>
                      <a:gd name="T31" fmla="*/ 1570 h 2905"/>
                      <a:gd name="T32" fmla="*/ 3193 w 3878"/>
                      <a:gd name="T33" fmla="*/ 1746 h 2905"/>
                      <a:gd name="T34" fmla="*/ 3403 w 3878"/>
                      <a:gd name="T35" fmla="*/ 1885 h 2905"/>
                      <a:gd name="T36" fmla="*/ 3555 w 3878"/>
                      <a:gd name="T37" fmla="*/ 1916 h 2905"/>
                      <a:gd name="T38" fmla="*/ 3685 w 3878"/>
                      <a:gd name="T39" fmla="*/ 2023 h 2905"/>
                      <a:gd name="T40" fmla="*/ 3846 w 3878"/>
                      <a:gd name="T41" fmla="*/ 2126 h 2905"/>
                      <a:gd name="T42" fmla="*/ 3523 w 3878"/>
                      <a:gd name="T43" fmla="*/ 2237 h 2905"/>
                      <a:gd name="T44" fmla="*/ 2995 w 3878"/>
                      <a:gd name="T45" fmla="*/ 2190 h 2905"/>
                      <a:gd name="T46" fmla="*/ 2733 w 3878"/>
                      <a:gd name="T47" fmla="*/ 2507 h 2905"/>
                      <a:gd name="T48" fmla="*/ 2495 w 3878"/>
                      <a:gd name="T49" fmla="*/ 2645 h 2905"/>
                      <a:gd name="T50" fmla="*/ 2214 w 3878"/>
                      <a:gd name="T51" fmla="*/ 2553 h 2905"/>
                      <a:gd name="T52" fmla="*/ 2043 w 3878"/>
                      <a:gd name="T53" fmla="*/ 2451 h 2905"/>
                      <a:gd name="T54" fmla="*/ 1800 w 3878"/>
                      <a:gd name="T55" fmla="*/ 2341 h 2905"/>
                      <a:gd name="T56" fmla="*/ 1551 w 3878"/>
                      <a:gd name="T57" fmla="*/ 2533 h 2905"/>
                      <a:gd name="T58" fmla="*/ 1428 w 3878"/>
                      <a:gd name="T59" fmla="*/ 2545 h 2905"/>
                      <a:gd name="T60" fmla="*/ 713 w 3878"/>
                      <a:gd name="T61" fmla="*/ 2306 h 2905"/>
                      <a:gd name="T62" fmla="*/ 611 w 3878"/>
                      <a:gd name="T63" fmla="*/ 2263 h 2905"/>
                      <a:gd name="T64" fmla="*/ 534 w 3878"/>
                      <a:gd name="T65" fmla="*/ 2211 h 2905"/>
                      <a:gd name="T66" fmla="*/ 368 w 3878"/>
                      <a:gd name="T67" fmla="*/ 2192 h 2905"/>
                      <a:gd name="T68" fmla="*/ 5 w 3878"/>
                      <a:gd name="T69" fmla="*/ 2042 h 2905"/>
                      <a:gd name="T70" fmla="*/ 61 w 3878"/>
                      <a:gd name="T71" fmla="*/ 1877 h 2905"/>
                      <a:gd name="T72" fmla="*/ 155 w 3878"/>
                      <a:gd name="T73" fmla="*/ 1943 h 2905"/>
                      <a:gd name="T74" fmla="*/ 220 w 3878"/>
                      <a:gd name="T75" fmla="*/ 1888 h 2905"/>
                      <a:gd name="T76" fmla="*/ 343 w 3878"/>
                      <a:gd name="T77" fmla="*/ 1925 h 2905"/>
                      <a:gd name="T78" fmla="*/ 624 w 3878"/>
                      <a:gd name="T79" fmla="*/ 1766 h 2905"/>
                      <a:gd name="T80" fmla="*/ 684 w 3878"/>
                      <a:gd name="T81" fmla="*/ 1705 h 2905"/>
                      <a:gd name="T82" fmla="*/ 784 w 3878"/>
                      <a:gd name="T83" fmla="*/ 1680 h 2905"/>
                      <a:gd name="T84" fmla="*/ 924 w 3878"/>
                      <a:gd name="T85" fmla="*/ 1660 h 2905"/>
                      <a:gd name="T86" fmla="*/ 1261 w 3878"/>
                      <a:gd name="T87" fmla="*/ 1556 h 2905"/>
                      <a:gd name="T88" fmla="*/ 1299 w 3878"/>
                      <a:gd name="T89" fmla="*/ 1403 h 2905"/>
                      <a:gd name="T90" fmla="*/ 1346 w 3878"/>
                      <a:gd name="T91" fmla="*/ 1288 h 2905"/>
                      <a:gd name="T92" fmla="*/ 1295 w 3878"/>
                      <a:gd name="T93" fmla="*/ 1222 h 2905"/>
                      <a:gd name="T94" fmla="*/ 1315 w 3878"/>
                      <a:gd name="T95" fmla="*/ 1101 h 2905"/>
                      <a:gd name="T96" fmla="*/ 1340 w 3878"/>
                      <a:gd name="T97" fmla="*/ 1002 h 2905"/>
                      <a:gd name="T98" fmla="*/ 1557 w 3878"/>
                      <a:gd name="T99" fmla="*/ 793 h 2905"/>
                      <a:gd name="T100" fmla="*/ 1520 w 3878"/>
                      <a:gd name="T101" fmla="*/ 483 h 2905"/>
                      <a:gd name="T102" fmla="*/ 1587 w 3878"/>
                      <a:gd name="T103" fmla="*/ 398 h 2905"/>
                      <a:gd name="T104" fmla="*/ 1584 w 3878"/>
                      <a:gd name="T105" fmla="*/ 303 h 2905"/>
                      <a:gd name="T106" fmla="*/ 1564 w 3878"/>
                      <a:gd name="T107" fmla="*/ 105 h 2905"/>
                      <a:gd name="T108" fmla="*/ 1855 w 3878"/>
                      <a:gd name="T109" fmla="*/ 20 h 2905"/>
                      <a:gd name="T110" fmla="*/ 2034 w 3878"/>
                      <a:gd name="T111" fmla="*/ 17 h 29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3878" h="2905">
                        <a:moveTo>
                          <a:pt x="2298" y="75"/>
                        </a:moveTo>
                        <a:lnTo>
                          <a:pt x="2290" y="109"/>
                        </a:lnTo>
                        <a:lnTo>
                          <a:pt x="2282" y="130"/>
                        </a:lnTo>
                        <a:lnTo>
                          <a:pt x="2272" y="141"/>
                        </a:lnTo>
                        <a:lnTo>
                          <a:pt x="2260" y="145"/>
                        </a:lnTo>
                        <a:lnTo>
                          <a:pt x="2202" y="130"/>
                        </a:lnTo>
                        <a:lnTo>
                          <a:pt x="2188" y="135"/>
                        </a:lnTo>
                        <a:lnTo>
                          <a:pt x="2183" y="146"/>
                        </a:lnTo>
                        <a:lnTo>
                          <a:pt x="2185" y="162"/>
                        </a:lnTo>
                        <a:lnTo>
                          <a:pt x="2192" y="182"/>
                        </a:lnTo>
                        <a:lnTo>
                          <a:pt x="2217" y="225"/>
                        </a:lnTo>
                        <a:lnTo>
                          <a:pt x="2295" y="304"/>
                        </a:lnTo>
                        <a:lnTo>
                          <a:pt x="2300" y="320"/>
                        </a:lnTo>
                        <a:lnTo>
                          <a:pt x="2295" y="326"/>
                        </a:lnTo>
                        <a:lnTo>
                          <a:pt x="2274" y="336"/>
                        </a:lnTo>
                        <a:lnTo>
                          <a:pt x="2270" y="349"/>
                        </a:lnTo>
                        <a:lnTo>
                          <a:pt x="2272" y="364"/>
                        </a:lnTo>
                        <a:lnTo>
                          <a:pt x="2277" y="384"/>
                        </a:lnTo>
                        <a:lnTo>
                          <a:pt x="2322" y="501"/>
                        </a:lnTo>
                        <a:lnTo>
                          <a:pt x="2324" y="517"/>
                        </a:lnTo>
                        <a:lnTo>
                          <a:pt x="2324" y="532"/>
                        </a:lnTo>
                        <a:lnTo>
                          <a:pt x="2322" y="546"/>
                        </a:lnTo>
                        <a:lnTo>
                          <a:pt x="2315" y="561"/>
                        </a:lnTo>
                        <a:lnTo>
                          <a:pt x="2307" y="574"/>
                        </a:lnTo>
                        <a:lnTo>
                          <a:pt x="2295" y="586"/>
                        </a:lnTo>
                        <a:lnTo>
                          <a:pt x="2287" y="599"/>
                        </a:lnTo>
                        <a:lnTo>
                          <a:pt x="2288" y="612"/>
                        </a:lnTo>
                        <a:lnTo>
                          <a:pt x="2298" y="627"/>
                        </a:lnTo>
                        <a:lnTo>
                          <a:pt x="2398" y="705"/>
                        </a:lnTo>
                        <a:lnTo>
                          <a:pt x="2413" y="705"/>
                        </a:lnTo>
                        <a:lnTo>
                          <a:pt x="2430" y="697"/>
                        </a:lnTo>
                        <a:lnTo>
                          <a:pt x="2446" y="685"/>
                        </a:lnTo>
                        <a:lnTo>
                          <a:pt x="2475" y="651"/>
                        </a:lnTo>
                        <a:lnTo>
                          <a:pt x="2498" y="617"/>
                        </a:lnTo>
                        <a:lnTo>
                          <a:pt x="2503" y="602"/>
                        </a:lnTo>
                        <a:lnTo>
                          <a:pt x="2504" y="585"/>
                        </a:lnTo>
                        <a:lnTo>
                          <a:pt x="2503" y="566"/>
                        </a:lnTo>
                        <a:lnTo>
                          <a:pt x="2498" y="549"/>
                        </a:lnTo>
                        <a:lnTo>
                          <a:pt x="2485" y="515"/>
                        </a:lnTo>
                        <a:lnTo>
                          <a:pt x="2451" y="459"/>
                        </a:lnTo>
                        <a:lnTo>
                          <a:pt x="2448" y="436"/>
                        </a:lnTo>
                        <a:lnTo>
                          <a:pt x="2450" y="402"/>
                        </a:lnTo>
                        <a:lnTo>
                          <a:pt x="2458" y="385"/>
                        </a:lnTo>
                        <a:lnTo>
                          <a:pt x="2469" y="375"/>
                        </a:lnTo>
                        <a:lnTo>
                          <a:pt x="2485" y="371"/>
                        </a:lnTo>
                        <a:lnTo>
                          <a:pt x="2503" y="372"/>
                        </a:lnTo>
                        <a:lnTo>
                          <a:pt x="2575" y="402"/>
                        </a:lnTo>
                        <a:lnTo>
                          <a:pt x="2588" y="414"/>
                        </a:lnTo>
                        <a:lnTo>
                          <a:pt x="2610" y="450"/>
                        </a:lnTo>
                        <a:lnTo>
                          <a:pt x="2628" y="492"/>
                        </a:lnTo>
                        <a:lnTo>
                          <a:pt x="2639" y="559"/>
                        </a:lnTo>
                        <a:lnTo>
                          <a:pt x="2645" y="574"/>
                        </a:lnTo>
                        <a:lnTo>
                          <a:pt x="2655" y="589"/>
                        </a:lnTo>
                        <a:lnTo>
                          <a:pt x="2740" y="672"/>
                        </a:lnTo>
                        <a:lnTo>
                          <a:pt x="2751" y="695"/>
                        </a:lnTo>
                        <a:lnTo>
                          <a:pt x="2754" y="710"/>
                        </a:lnTo>
                        <a:lnTo>
                          <a:pt x="2751" y="765"/>
                        </a:lnTo>
                        <a:lnTo>
                          <a:pt x="2756" y="780"/>
                        </a:lnTo>
                        <a:lnTo>
                          <a:pt x="2768" y="793"/>
                        </a:lnTo>
                        <a:lnTo>
                          <a:pt x="2798" y="811"/>
                        </a:lnTo>
                        <a:lnTo>
                          <a:pt x="2866" y="832"/>
                        </a:lnTo>
                        <a:lnTo>
                          <a:pt x="2904" y="868"/>
                        </a:lnTo>
                        <a:lnTo>
                          <a:pt x="2939" y="921"/>
                        </a:lnTo>
                        <a:lnTo>
                          <a:pt x="2961" y="972"/>
                        </a:lnTo>
                        <a:lnTo>
                          <a:pt x="2964" y="992"/>
                        </a:lnTo>
                        <a:lnTo>
                          <a:pt x="2964" y="1008"/>
                        </a:lnTo>
                        <a:lnTo>
                          <a:pt x="2960" y="1027"/>
                        </a:lnTo>
                        <a:lnTo>
                          <a:pt x="2958" y="1033"/>
                        </a:lnTo>
                        <a:lnTo>
                          <a:pt x="2928" y="1087"/>
                        </a:lnTo>
                        <a:lnTo>
                          <a:pt x="2924" y="1106"/>
                        </a:lnTo>
                        <a:lnTo>
                          <a:pt x="2925" y="1130"/>
                        </a:lnTo>
                        <a:lnTo>
                          <a:pt x="2941" y="1185"/>
                        </a:lnTo>
                        <a:lnTo>
                          <a:pt x="2966" y="1237"/>
                        </a:lnTo>
                        <a:lnTo>
                          <a:pt x="2990" y="1271"/>
                        </a:lnTo>
                        <a:lnTo>
                          <a:pt x="3039" y="1300"/>
                        </a:lnTo>
                        <a:lnTo>
                          <a:pt x="3046" y="1307"/>
                        </a:lnTo>
                        <a:lnTo>
                          <a:pt x="3053" y="1318"/>
                        </a:lnTo>
                        <a:lnTo>
                          <a:pt x="3058" y="1335"/>
                        </a:lnTo>
                        <a:lnTo>
                          <a:pt x="3059" y="1351"/>
                        </a:lnTo>
                        <a:lnTo>
                          <a:pt x="3055" y="1365"/>
                        </a:lnTo>
                        <a:lnTo>
                          <a:pt x="3048" y="1376"/>
                        </a:lnTo>
                        <a:lnTo>
                          <a:pt x="3024" y="1392"/>
                        </a:lnTo>
                        <a:lnTo>
                          <a:pt x="2974" y="1411"/>
                        </a:lnTo>
                        <a:lnTo>
                          <a:pt x="2965" y="1420"/>
                        </a:lnTo>
                        <a:lnTo>
                          <a:pt x="2918" y="1488"/>
                        </a:lnTo>
                        <a:lnTo>
                          <a:pt x="2889" y="1513"/>
                        </a:lnTo>
                        <a:lnTo>
                          <a:pt x="2886" y="1526"/>
                        </a:lnTo>
                        <a:lnTo>
                          <a:pt x="2890" y="1540"/>
                        </a:lnTo>
                        <a:lnTo>
                          <a:pt x="2900" y="1552"/>
                        </a:lnTo>
                        <a:lnTo>
                          <a:pt x="2914" y="1563"/>
                        </a:lnTo>
                        <a:lnTo>
                          <a:pt x="2948" y="1578"/>
                        </a:lnTo>
                        <a:lnTo>
                          <a:pt x="2980" y="1578"/>
                        </a:lnTo>
                        <a:lnTo>
                          <a:pt x="3070" y="1547"/>
                        </a:lnTo>
                        <a:lnTo>
                          <a:pt x="3084" y="1548"/>
                        </a:lnTo>
                        <a:lnTo>
                          <a:pt x="3094" y="1556"/>
                        </a:lnTo>
                        <a:lnTo>
                          <a:pt x="3099" y="1570"/>
                        </a:lnTo>
                        <a:lnTo>
                          <a:pt x="3100" y="1589"/>
                        </a:lnTo>
                        <a:lnTo>
                          <a:pt x="3095" y="1676"/>
                        </a:lnTo>
                        <a:lnTo>
                          <a:pt x="3099" y="1691"/>
                        </a:lnTo>
                        <a:lnTo>
                          <a:pt x="3106" y="1702"/>
                        </a:lnTo>
                        <a:lnTo>
                          <a:pt x="3116" y="1711"/>
                        </a:lnTo>
                        <a:lnTo>
                          <a:pt x="3193" y="1746"/>
                        </a:lnTo>
                        <a:lnTo>
                          <a:pt x="3306" y="1770"/>
                        </a:lnTo>
                        <a:lnTo>
                          <a:pt x="3315" y="1776"/>
                        </a:lnTo>
                        <a:lnTo>
                          <a:pt x="3323" y="1787"/>
                        </a:lnTo>
                        <a:lnTo>
                          <a:pt x="3331" y="1817"/>
                        </a:lnTo>
                        <a:lnTo>
                          <a:pt x="3338" y="1857"/>
                        </a:lnTo>
                        <a:lnTo>
                          <a:pt x="3403" y="1885"/>
                        </a:lnTo>
                        <a:lnTo>
                          <a:pt x="3436" y="1912"/>
                        </a:lnTo>
                        <a:lnTo>
                          <a:pt x="3456" y="1942"/>
                        </a:lnTo>
                        <a:lnTo>
                          <a:pt x="3468" y="1950"/>
                        </a:lnTo>
                        <a:lnTo>
                          <a:pt x="3481" y="1951"/>
                        </a:lnTo>
                        <a:lnTo>
                          <a:pt x="3496" y="1948"/>
                        </a:lnTo>
                        <a:lnTo>
                          <a:pt x="3555" y="1916"/>
                        </a:lnTo>
                        <a:lnTo>
                          <a:pt x="3609" y="1923"/>
                        </a:lnTo>
                        <a:lnTo>
                          <a:pt x="3651" y="1941"/>
                        </a:lnTo>
                        <a:lnTo>
                          <a:pt x="3659" y="1947"/>
                        </a:lnTo>
                        <a:lnTo>
                          <a:pt x="3670" y="1967"/>
                        </a:lnTo>
                        <a:lnTo>
                          <a:pt x="3680" y="1993"/>
                        </a:lnTo>
                        <a:lnTo>
                          <a:pt x="3685" y="2023"/>
                        </a:lnTo>
                        <a:lnTo>
                          <a:pt x="3691" y="2036"/>
                        </a:lnTo>
                        <a:lnTo>
                          <a:pt x="3703" y="2045"/>
                        </a:lnTo>
                        <a:lnTo>
                          <a:pt x="3803" y="2073"/>
                        </a:lnTo>
                        <a:lnTo>
                          <a:pt x="3820" y="2086"/>
                        </a:lnTo>
                        <a:lnTo>
                          <a:pt x="3835" y="2103"/>
                        </a:lnTo>
                        <a:lnTo>
                          <a:pt x="3846" y="2126"/>
                        </a:lnTo>
                        <a:lnTo>
                          <a:pt x="3864" y="2176"/>
                        </a:lnTo>
                        <a:lnTo>
                          <a:pt x="3878" y="2240"/>
                        </a:lnTo>
                        <a:lnTo>
                          <a:pt x="3674" y="2320"/>
                        </a:lnTo>
                        <a:lnTo>
                          <a:pt x="3606" y="2310"/>
                        </a:lnTo>
                        <a:lnTo>
                          <a:pt x="3550" y="2250"/>
                        </a:lnTo>
                        <a:lnTo>
                          <a:pt x="3523" y="2237"/>
                        </a:lnTo>
                        <a:lnTo>
                          <a:pt x="3479" y="2250"/>
                        </a:lnTo>
                        <a:lnTo>
                          <a:pt x="3409" y="2296"/>
                        </a:lnTo>
                        <a:lnTo>
                          <a:pt x="3376" y="2302"/>
                        </a:lnTo>
                        <a:lnTo>
                          <a:pt x="3166" y="2195"/>
                        </a:lnTo>
                        <a:lnTo>
                          <a:pt x="3078" y="2171"/>
                        </a:lnTo>
                        <a:lnTo>
                          <a:pt x="2995" y="2190"/>
                        </a:lnTo>
                        <a:lnTo>
                          <a:pt x="2896" y="2262"/>
                        </a:lnTo>
                        <a:lnTo>
                          <a:pt x="2879" y="2287"/>
                        </a:lnTo>
                        <a:lnTo>
                          <a:pt x="2869" y="2341"/>
                        </a:lnTo>
                        <a:lnTo>
                          <a:pt x="2841" y="2375"/>
                        </a:lnTo>
                        <a:lnTo>
                          <a:pt x="2779" y="2430"/>
                        </a:lnTo>
                        <a:lnTo>
                          <a:pt x="2733" y="2507"/>
                        </a:lnTo>
                        <a:lnTo>
                          <a:pt x="2640" y="2777"/>
                        </a:lnTo>
                        <a:lnTo>
                          <a:pt x="2619" y="2816"/>
                        </a:lnTo>
                        <a:lnTo>
                          <a:pt x="2589" y="2851"/>
                        </a:lnTo>
                        <a:lnTo>
                          <a:pt x="2585" y="2905"/>
                        </a:lnTo>
                        <a:lnTo>
                          <a:pt x="2521" y="2830"/>
                        </a:lnTo>
                        <a:lnTo>
                          <a:pt x="2495" y="2645"/>
                        </a:lnTo>
                        <a:lnTo>
                          <a:pt x="2451" y="2583"/>
                        </a:lnTo>
                        <a:lnTo>
                          <a:pt x="2421" y="2581"/>
                        </a:lnTo>
                        <a:lnTo>
                          <a:pt x="2350" y="2606"/>
                        </a:lnTo>
                        <a:lnTo>
                          <a:pt x="2315" y="2611"/>
                        </a:lnTo>
                        <a:lnTo>
                          <a:pt x="2281" y="2598"/>
                        </a:lnTo>
                        <a:lnTo>
                          <a:pt x="2214" y="2553"/>
                        </a:lnTo>
                        <a:lnTo>
                          <a:pt x="2186" y="2543"/>
                        </a:lnTo>
                        <a:lnTo>
                          <a:pt x="2116" y="2547"/>
                        </a:lnTo>
                        <a:lnTo>
                          <a:pt x="2086" y="2542"/>
                        </a:lnTo>
                        <a:lnTo>
                          <a:pt x="2063" y="2525"/>
                        </a:lnTo>
                        <a:lnTo>
                          <a:pt x="2049" y="2491"/>
                        </a:lnTo>
                        <a:lnTo>
                          <a:pt x="2043" y="2451"/>
                        </a:lnTo>
                        <a:lnTo>
                          <a:pt x="2028" y="2417"/>
                        </a:lnTo>
                        <a:lnTo>
                          <a:pt x="1993" y="2403"/>
                        </a:lnTo>
                        <a:lnTo>
                          <a:pt x="1959" y="2400"/>
                        </a:lnTo>
                        <a:lnTo>
                          <a:pt x="1848" y="2367"/>
                        </a:lnTo>
                        <a:lnTo>
                          <a:pt x="1816" y="2347"/>
                        </a:lnTo>
                        <a:lnTo>
                          <a:pt x="1800" y="2341"/>
                        </a:lnTo>
                        <a:lnTo>
                          <a:pt x="1783" y="2343"/>
                        </a:lnTo>
                        <a:lnTo>
                          <a:pt x="1749" y="2357"/>
                        </a:lnTo>
                        <a:lnTo>
                          <a:pt x="1730" y="2358"/>
                        </a:lnTo>
                        <a:lnTo>
                          <a:pt x="1678" y="2351"/>
                        </a:lnTo>
                        <a:lnTo>
                          <a:pt x="1645" y="2372"/>
                        </a:lnTo>
                        <a:lnTo>
                          <a:pt x="1551" y="2533"/>
                        </a:lnTo>
                        <a:lnTo>
                          <a:pt x="1531" y="2552"/>
                        </a:lnTo>
                        <a:lnTo>
                          <a:pt x="1503" y="2561"/>
                        </a:lnTo>
                        <a:lnTo>
                          <a:pt x="1491" y="2557"/>
                        </a:lnTo>
                        <a:lnTo>
                          <a:pt x="1468" y="2537"/>
                        </a:lnTo>
                        <a:lnTo>
                          <a:pt x="1429" y="2543"/>
                        </a:lnTo>
                        <a:lnTo>
                          <a:pt x="1428" y="2545"/>
                        </a:lnTo>
                        <a:lnTo>
                          <a:pt x="1169" y="2506"/>
                        </a:lnTo>
                        <a:lnTo>
                          <a:pt x="999" y="2517"/>
                        </a:lnTo>
                        <a:lnTo>
                          <a:pt x="901" y="2475"/>
                        </a:lnTo>
                        <a:lnTo>
                          <a:pt x="715" y="2338"/>
                        </a:lnTo>
                        <a:lnTo>
                          <a:pt x="713" y="2325"/>
                        </a:lnTo>
                        <a:lnTo>
                          <a:pt x="713" y="2306"/>
                        </a:lnTo>
                        <a:lnTo>
                          <a:pt x="703" y="2293"/>
                        </a:lnTo>
                        <a:lnTo>
                          <a:pt x="671" y="2301"/>
                        </a:lnTo>
                        <a:lnTo>
                          <a:pt x="670" y="2272"/>
                        </a:lnTo>
                        <a:lnTo>
                          <a:pt x="656" y="2260"/>
                        </a:lnTo>
                        <a:lnTo>
                          <a:pt x="635" y="2258"/>
                        </a:lnTo>
                        <a:lnTo>
                          <a:pt x="611" y="2263"/>
                        </a:lnTo>
                        <a:lnTo>
                          <a:pt x="631" y="2238"/>
                        </a:lnTo>
                        <a:lnTo>
                          <a:pt x="615" y="2240"/>
                        </a:lnTo>
                        <a:lnTo>
                          <a:pt x="601" y="2233"/>
                        </a:lnTo>
                        <a:lnTo>
                          <a:pt x="581" y="2218"/>
                        </a:lnTo>
                        <a:lnTo>
                          <a:pt x="546" y="2216"/>
                        </a:lnTo>
                        <a:lnTo>
                          <a:pt x="534" y="2211"/>
                        </a:lnTo>
                        <a:lnTo>
                          <a:pt x="524" y="2196"/>
                        </a:lnTo>
                        <a:lnTo>
                          <a:pt x="516" y="2162"/>
                        </a:lnTo>
                        <a:lnTo>
                          <a:pt x="506" y="2153"/>
                        </a:lnTo>
                        <a:lnTo>
                          <a:pt x="450" y="2153"/>
                        </a:lnTo>
                        <a:lnTo>
                          <a:pt x="434" y="2158"/>
                        </a:lnTo>
                        <a:lnTo>
                          <a:pt x="368" y="2192"/>
                        </a:lnTo>
                        <a:lnTo>
                          <a:pt x="338" y="2202"/>
                        </a:lnTo>
                        <a:lnTo>
                          <a:pt x="295" y="2202"/>
                        </a:lnTo>
                        <a:lnTo>
                          <a:pt x="253" y="2192"/>
                        </a:lnTo>
                        <a:lnTo>
                          <a:pt x="110" y="2112"/>
                        </a:lnTo>
                        <a:lnTo>
                          <a:pt x="0" y="2068"/>
                        </a:lnTo>
                        <a:lnTo>
                          <a:pt x="5" y="2042"/>
                        </a:lnTo>
                        <a:lnTo>
                          <a:pt x="13" y="2025"/>
                        </a:lnTo>
                        <a:lnTo>
                          <a:pt x="19" y="2002"/>
                        </a:lnTo>
                        <a:lnTo>
                          <a:pt x="48" y="1931"/>
                        </a:lnTo>
                        <a:lnTo>
                          <a:pt x="56" y="1902"/>
                        </a:lnTo>
                        <a:lnTo>
                          <a:pt x="56" y="1890"/>
                        </a:lnTo>
                        <a:lnTo>
                          <a:pt x="61" y="1877"/>
                        </a:lnTo>
                        <a:lnTo>
                          <a:pt x="70" y="1870"/>
                        </a:lnTo>
                        <a:lnTo>
                          <a:pt x="81" y="1867"/>
                        </a:lnTo>
                        <a:lnTo>
                          <a:pt x="94" y="1868"/>
                        </a:lnTo>
                        <a:lnTo>
                          <a:pt x="106" y="1876"/>
                        </a:lnTo>
                        <a:lnTo>
                          <a:pt x="120" y="1887"/>
                        </a:lnTo>
                        <a:lnTo>
                          <a:pt x="155" y="1943"/>
                        </a:lnTo>
                        <a:lnTo>
                          <a:pt x="166" y="1948"/>
                        </a:lnTo>
                        <a:lnTo>
                          <a:pt x="176" y="1947"/>
                        </a:lnTo>
                        <a:lnTo>
                          <a:pt x="186" y="1938"/>
                        </a:lnTo>
                        <a:lnTo>
                          <a:pt x="201" y="1917"/>
                        </a:lnTo>
                        <a:lnTo>
                          <a:pt x="206" y="1905"/>
                        </a:lnTo>
                        <a:lnTo>
                          <a:pt x="220" y="1888"/>
                        </a:lnTo>
                        <a:lnTo>
                          <a:pt x="239" y="1873"/>
                        </a:lnTo>
                        <a:lnTo>
                          <a:pt x="250" y="1868"/>
                        </a:lnTo>
                        <a:lnTo>
                          <a:pt x="264" y="1868"/>
                        </a:lnTo>
                        <a:lnTo>
                          <a:pt x="276" y="1873"/>
                        </a:lnTo>
                        <a:lnTo>
                          <a:pt x="331" y="1921"/>
                        </a:lnTo>
                        <a:lnTo>
                          <a:pt x="343" y="1925"/>
                        </a:lnTo>
                        <a:lnTo>
                          <a:pt x="354" y="1923"/>
                        </a:lnTo>
                        <a:lnTo>
                          <a:pt x="488" y="1802"/>
                        </a:lnTo>
                        <a:lnTo>
                          <a:pt x="539" y="1778"/>
                        </a:lnTo>
                        <a:lnTo>
                          <a:pt x="603" y="1785"/>
                        </a:lnTo>
                        <a:lnTo>
                          <a:pt x="615" y="1778"/>
                        </a:lnTo>
                        <a:lnTo>
                          <a:pt x="624" y="1766"/>
                        </a:lnTo>
                        <a:lnTo>
                          <a:pt x="634" y="1726"/>
                        </a:lnTo>
                        <a:lnTo>
                          <a:pt x="640" y="1713"/>
                        </a:lnTo>
                        <a:lnTo>
                          <a:pt x="650" y="1705"/>
                        </a:lnTo>
                        <a:lnTo>
                          <a:pt x="659" y="1701"/>
                        </a:lnTo>
                        <a:lnTo>
                          <a:pt x="676" y="1702"/>
                        </a:lnTo>
                        <a:lnTo>
                          <a:pt x="684" y="1705"/>
                        </a:lnTo>
                        <a:lnTo>
                          <a:pt x="731" y="1645"/>
                        </a:lnTo>
                        <a:lnTo>
                          <a:pt x="745" y="1637"/>
                        </a:lnTo>
                        <a:lnTo>
                          <a:pt x="758" y="1638"/>
                        </a:lnTo>
                        <a:lnTo>
                          <a:pt x="768" y="1651"/>
                        </a:lnTo>
                        <a:lnTo>
                          <a:pt x="775" y="1668"/>
                        </a:lnTo>
                        <a:lnTo>
                          <a:pt x="784" y="1680"/>
                        </a:lnTo>
                        <a:lnTo>
                          <a:pt x="794" y="1688"/>
                        </a:lnTo>
                        <a:lnTo>
                          <a:pt x="816" y="1695"/>
                        </a:lnTo>
                        <a:lnTo>
                          <a:pt x="871" y="1692"/>
                        </a:lnTo>
                        <a:lnTo>
                          <a:pt x="883" y="1687"/>
                        </a:lnTo>
                        <a:lnTo>
                          <a:pt x="915" y="1662"/>
                        </a:lnTo>
                        <a:lnTo>
                          <a:pt x="924" y="1660"/>
                        </a:lnTo>
                        <a:lnTo>
                          <a:pt x="1051" y="1681"/>
                        </a:lnTo>
                        <a:lnTo>
                          <a:pt x="1070" y="1675"/>
                        </a:lnTo>
                        <a:lnTo>
                          <a:pt x="1085" y="1662"/>
                        </a:lnTo>
                        <a:lnTo>
                          <a:pt x="1124" y="1605"/>
                        </a:lnTo>
                        <a:lnTo>
                          <a:pt x="1131" y="1598"/>
                        </a:lnTo>
                        <a:lnTo>
                          <a:pt x="1261" y="1556"/>
                        </a:lnTo>
                        <a:lnTo>
                          <a:pt x="1301" y="1507"/>
                        </a:lnTo>
                        <a:lnTo>
                          <a:pt x="1314" y="1478"/>
                        </a:lnTo>
                        <a:lnTo>
                          <a:pt x="1318" y="1466"/>
                        </a:lnTo>
                        <a:lnTo>
                          <a:pt x="1318" y="1452"/>
                        </a:lnTo>
                        <a:lnTo>
                          <a:pt x="1314" y="1440"/>
                        </a:lnTo>
                        <a:lnTo>
                          <a:pt x="1299" y="1403"/>
                        </a:lnTo>
                        <a:lnTo>
                          <a:pt x="1296" y="1378"/>
                        </a:lnTo>
                        <a:lnTo>
                          <a:pt x="1300" y="1365"/>
                        </a:lnTo>
                        <a:lnTo>
                          <a:pt x="1308" y="1350"/>
                        </a:lnTo>
                        <a:lnTo>
                          <a:pt x="1334" y="1318"/>
                        </a:lnTo>
                        <a:lnTo>
                          <a:pt x="1343" y="1303"/>
                        </a:lnTo>
                        <a:lnTo>
                          <a:pt x="1346" y="1288"/>
                        </a:lnTo>
                        <a:lnTo>
                          <a:pt x="1346" y="1275"/>
                        </a:lnTo>
                        <a:lnTo>
                          <a:pt x="1343" y="1262"/>
                        </a:lnTo>
                        <a:lnTo>
                          <a:pt x="1335" y="1252"/>
                        </a:lnTo>
                        <a:lnTo>
                          <a:pt x="1326" y="1245"/>
                        </a:lnTo>
                        <a:lnTo>
                          <a:pt x="1303" y="1232"/>
                        </a:lnTo>
                        <a:lnTo>
                          <a:pt x="1295" y="1222"/>
                        </a:lnTo>
                        <a:lnTo>
                          <a:pt x="1291" y="1208"/>
                        </a:lnTo>
                        <a:lnTo>
                          <a:pt x="1289" y="1192"/>
                        </a:lnTo>
                        <a:lnTo>
                          <a:pt x="1291" y="1157"/>
                        </a:lnTo>
                        <a:lnTo>
                          <a:pt x="1300" y="1122"/>
                        </a:lnTo>
                        <a:lnTo>
                          <a:pt x="1306" y="1110"/>
                        </a:lnTo>
                        <a:lnTo>
                          <a:pt x="1315" y="1101"/>
                        </a:lnTo>
                        <a:lnTo>
                          <a:pt x="1355" y="1085"/>
                        </a:lnTo>
                        <a:lnTo>
                          <a:pt x="1360" y="1078"/>
                        </a:lnTo>
                        <a:lnTo>
                          <a:pt x="1363" y="1070"/>
                        </a:lnTo>
                        <a:lnTo>
                          <a:pt x="1358" y="1050"/>
                        </a:lnTo>
                        <a:lnTo>
                          <a:pt x="1345" y="1026"/>
                        </a:lnTo>
                        <a:lnTo>
                          <a:pt x="1340" y="1002"/>
                        </a:lnTo>
                        <a:lnTo>
                          <a:pt x="1342" y="985"/>
                        </a:lnTo>
                        <a:lnTo>
                          <a:pt x="1345" y="965"/>
                        </a:lnTo>
                        <a:lnTo>
                          <a:pt x="1353" y="947"/>
                        </a:lnTo>
                        <a:lnTo>
                          <a:pt x="1372" y="916"/>
                        </a:lnTo>
                        <a:lnTo>
                          <a:pt x="1395" y="892"/>
                        </a:lnTo>
                        <a:lnTo>
                          <a:pt x="1557" y="793"/>
                        </a:lnTo>
                        <a:lnTo>
                          <a:pt x="1564" y="780"/>
                        </a:lnTo>
                        <a:lnTo>
                          <a:pt x="1565" y="762"/>
                        </a:lnTo>
                        <a:lnTo>
                          <a:pt x="1563" y="742"/>
                        </a:lnTo>
                        <a:lnTo>
                          <a:pt x="1529" y="633"/>
                        </a:lnTo>
                        <a:lnTo>
                          <a:pt x="1525" y="613"/>
                        </a:lnTo>
                        <a:lnTo>
                          <a:pt x="1520" y="483"/>
                        </a:lnTo>
                        <a:lnTo>
                          <a:pt x="1510" y="446"/>
                        </a:lnTo>
                        <a:lnTo>
                          <a:pt x="1510" y="432"/>
                        </a:lnTo>
                        <a:lnTo>
                          <a:pt x="1515" y="423"/>
                        </a:lnTo>
                        <a:lnTo>
                          <a:pt x="1524" y="417"/>
                        </a:lnTo>
                        <a:lnTo>
                          <a:pt x="1579" y="407"/>
                        </a:lnTo>
                        <a:lnTo>
                          <a:pt x="1587" y="398"/>
                        </a:lnTo>
                        <a:lnTo>
                          <a:pt x="1592" y="385"/>
                        </a:lnTo>
                        <a:lnTo>
                          <a:pt x="1595" y="368"/>
                        </a:lnTo>
                        <a:lnTo>
                          <a:pt x="1597" y="351"/>
                        </a:lnTo>
                        <a:lnTo>
                          <a:pt x="1594" y="333"/>
                        </a:lnTo>
                        <a:lnTo>
                          <a:pt x="1590" y="317"/>
                        </a:lnTo>
                        <a:lnTo>
                          <a:pt x="1584" y="303"/>
                        </a:lnTo>
                        <a:lnTo>
                          <a:pt x="1533" y="253"/>
                        </a:lnTo>
                        <a:lnTo>
                          <a:pt x="1529" y="241"/>
                        </a:lnTo>
                        <a:lnTo>
                          <a:pt x="1529" y="226"/>
                        </a:lnTo>
                        <a:lnTo>
                          <a:pt x="1552" y="168"/>
                        </a:lnTo>
                        <a:lnTo>
                          <a:pt x="1560" y="136"/>
                        </a:lnTo>
                        <a:lnTo>
                          <a:pt x="1564" y="105"/>
                        </a:lnTo>
                        <a:lnTo>
                          <a:pt x="1609" y="108"/>
                        </a:lnTo>
                        <a:lnTo>
                          <a:pt x="1828" y="87"/>
                        </a:lnTo>
                        <a:lnTo>
                          <a:pt x="1844" y="73"/>
                        </a:lnTo>
                        <a:lnTo>
                          <a:pt x="1850" y="62"/>
                        </a:lnTo>
                        <a:lnTo>
                          <a:pt x="1853" y="43"/>
                        </a:lnTo>
                        <a:lnTo>
                          <a:pt x="1855" y="20"/>
                        </a:lnTo>
                        <a:lnTo>
                          <a:pt x="1865" y="7"/>
                        </a:lnTo>
                        <a:lnTo>
                          <a:pt x="1882" y="0"/>
                        </a:lnTo>
                        <a:lnTo>
                          <a:pt x="1979" y="0"/>
                        </a:lnTo>
                        <a:lnTo>
                          <a:pt x="1994" y="3"/>
                        </a:lnTo>
                        <a:lnTo>
                          <a:pt x="2017" y="15"/>
                        </a:lnTo>
                        <a:lnTo>
                          <a:pt x="2034" y="17"/>
                        </a:lnTo>
                        <a:lnTo>
                          <a:pt x="2095" y="12"/>
                        </a:lnTo>
                        <a:lnTo>
                          <a:pt x="2142" y="16"/>
                        </a:lnTo>
                        <a:lnTo>
                          <a:pt x="2185" y="32"/>
                        </a:lnTo>
                        <a:lnTo>
                          <a:pt x="2278" y="78"/>
                        </a:lnTo>
                        <a:lnTo>
                          <a:pt x="2298" y="75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4" name="Zlínský" descr="{&quot;Key&quot;:&quot;zlínský&quot;,&quot;Name&quot;:&quot;Zlíns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7122FD6C-086C-F6C0-BC4A-7D41E3B5C3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25" y="2985"/>
                    <a:ext cx="1029" cy="845"/>
                  </a:xfrm>
                  <a:custGeom>
                    <a:avLst/>
                    <a:gdLst>
                      <a:gd name="T0" fmla="*/ 2244 w 2359"/>
                      <a:gd name="T1" fmla="*/ 613 h 1936"/>
                      <a:gd name="T2" fmla="*/ 1897 w 2359"/>
                      <a:gd name="T3" fmla="*/ 835 h 1936"/>
                      <a:gd name="T4" fmla="*/ 1833 w 2359"/>
                      <a:gd name="T5" fmla="*/ 1088 h 1936"/>
                      <a:gd name="T6" fmla="*/ 1784 w 2359"/>
                      <a:gd name="T7" fmla="*/ 1358 h 1936"/>
                      <a:gd name="T8" fmla="*/ 1571 w 2359"/>
                      <a:gd name="T9" fmla="*/ 1430 h 1936"/>
                      <a:gd name="T10" fmla="*/ 1463 w 2359"/>
                      <a:gd name="T11" fmla="*/ 1511 h 1936"/>
                      <a:gd name="T12" fmla="*/ 1422 w 2359"/>
                      <a:gd name="T13" fmla="*/ 1678 h 1936"/>
                      <a:gd name="T14" fmla="*/ 1313 w 2359"/>
                      <a:gd name="T15" fmla="*/ 1707 h 1936"/>
                      <a:gd name="T16" fmla="*/ 1174 w 2359"/>
                      <a:gd name="T17" fmla="*/ 1850 h 1936"/>
                      <a:gd name="T18" fmla="*/ 978 w 2359"/>
                      <a:gd name="T19" fmla="*/ 1872 h 1936"/>
                      <a:gd name="T20" fmla="*/ 934 w 2359"/>
                      <a:gd name="T21" fmla="*/ 1782 h 1936"/>
                      <a:gd name="T22" fmla="*/ 806 w 2359"/>
                      <a:gd name="T23" fmla="*/ 1732 h 1936"/>
                      <a:gd name="T24" fmla="*/ 784 w 2359"/>
                      <a:gd name="T25" fmla="*/ 1663 h 1936"/>
                      <a:gd name="T26" fmla="*/ 723 w 2359"/>
                      <a:gd name="T27" fmla="*/ 1620 h 1936"/>
                      <a:gd name="T28" fmla="*/ 596 w 2359"/>
                      <a:gd name="T29" fmla="*/ 1647 h 1936"/>
                      <a:gd name="T30" fmla="*/ 551 w 2359"/>
                      <a:gd name="T31" fmla="*/ 1608 h 1936"/>
                      <a:gd name="T32" fmla="*/ 446 w 2359"/>
                      <a:gd name="T33" fmla="*/ 1513 h 1936"/>
                      <a:gd name="T34" fmla="*/ 420 w 2359"/>
                      <a:gd name="T35" fmla="*/ 1466 h 1936"/>
                      <a:gd name="T36" fmla="*/ 220 w 2359"/>
                      <a:gd name="T37" fmla="*/ 1398 h 1936"/>
                      <a:gd name="T38" fmla="*/ 214 w 2359"/>
                      <a:gd name="T39" fmla="*/ 1285 h 1936"/>
                      <a:gd name="T40" fmla="*/ 198 w 2359"/>
                      <a:gd name="T41" fmla="*/ 1245 h 1936"/>
                      <a:gd name="T42" fmla="*/ 62 w 2359"/>
                      <a:gd name="T43" fmla="*/ 1275 h 1936"/>
                      <a:gd name="T44" fmla="*/ 4 w 2359"/>
                      <a:gd name="T45" fmla="*/ 1236 h 1936"/>
                      <a:gd name="T46" fmla="*/ 32 w 2359"/>
                      <a:gd name="T47" fmla="*/ 1185 h 1936"/>
                      <a:gd name="T48" fmla="*/ 138 w 2359"/>
                      <a:gd name="T49" fmla="*/ 1088 h 1936"/>
                      <a:gd name="T50" fmla="*/ 173 w 2359"/>
                      <a:gd name="T51" fmla="*/ 1047 h 1936"/>
                      <a:gd name="T52" fmla="*/ 160 w 2359"/>
                      <a:gd name="T53" fmla="*/ 1003 h 1936"/>
                      <a:gd name="T54" fmla="*/ 80 w 2359"/>
                      <a:gd name="T55" fmla="*/ 933 h 1936"/>
                      <a:gd name="T56" fmla="*/ 38 w 2359"/>
                      <a:gd name="T57" fmla="*/ 802 h 1936"/>
                      <a:gd name="T58" fmla="*/ 74 w 2359"/>
                      <a:gd name="T59" fmla="*/ 723 h 1936"/>
                      <a:gd name="T60" fmla="*/ 105 w 2359"/>
                      <a:gd name="T61" fmla="*/ 756 h 1936"/>
                      <a:gd name="T62" fmla="*/ 127 w 2359"/>
                      <a:gd name="T63" fmla="*/ 730 h 1936"/>
                      <a:gd name="T64" fmla="*/ 148 w 2359"/>
                      <a:gd name="T65" fmla="*/ 652 h 1936"/>
                      <a:gd name="T66" fmla="*/ 296 w 2359"/>
                      <a:gd name="T67" fmla="*/ 647 h 1936"/>
                      <a:gd name="T68" fmla="*/ 392 w 2359"/>
                      <a:gd name="T69" fmla="*/ 548 h 1936"/>
                      <a:gd name="T70" fmla="*/ 398 w 2359"/>
                      <a:gd name="T71" fmla="*/ 486 h 1936"/>
                      <a:gd name="T72" fmla="*/ 394 w 2359"/>
                      <a:gd name="T73" fmla="*/ 343 h 1936"/>
                      <a:gd name="T74" fmla="*/ 514 w 2359"/>
                      <a:gd name="T75" fmla="*/ 400 h 1936"/>
                      <a:gd name="T76" fmla="*/ 648 w 2359"/>
                      <a:gd name="T77" fmla="*/ 460 h 1936"/>
                      <a:gd name="T78" fmla="*/ 689 w 2359"/>
                      <a:gd name="T79" fmla="*/ 450 h 1936"/>
                      <a:gd name="T80" fmla="*/ 733 w 2359"/>
                      <a:gd name="T81" fmla="*/ 382 h 1936"/>
                      <a:gd name="T82" fmla="*/ 803 w 2359"/>
                      <a:gd name="T83" fmla="*/ 351 h 1936"/>
                      <a:gd name="T84" fmla="*/ 959 w 2359"/>
                      <a:gd name="T85" fmla="*/ 347 h 1936"/>
                      <a:gd name="T86" fmla="*/ 977 w 2359"/>
                      <a:gd name="T87" fmla="*/ 306 h 1936"/>
                      <a:gd name="T88" fmla="*/ 958 w 2359"/>
                      <a:gd name="T89" fmla="*/ 248 h 1936"/>
                      <a:gd name="T90" fmla="*/ 990 w 2359"/>
                      <a:gd name="T91" fmla="*/ 225 h 1936"/>
                      <a:gd name="T92" fmla="*/ 1202 w 2359"/>
                      <a:gd name="T93" fmla="*/ 256 h 1936"/>
                      <a:gd name="T94" fmla="*/ 1246 w 2359"/>
                      <a:gd name="T95" fmla="*/ 176 h 1936"/>
                      <a:gd name="T96" fmla="*/ 1287 w 2359"/>
                      <a:gd name="T97" fmla="*/ 120 h 1936"/>
                      <a:gd name="T98" fmla="*/ 1321 w 2359"/>
                      <a:gd name="T99" fmla="*/ 55 h 1936"/>
                      <a:gd name="T100" fmla="*/ 1348 w 2359"/>
                      <a:gd name="T101" fmla="*/ 42 h 1936"/>
                      <a:gd name="T102" fmla="*/ 1384 w 2359"/>
                      <a:gd name="T103" fmla="*/ 73 h 1936"/>
                      <a:gd name="T104" fmla="*/ 1444 w 2359"/>
                      <a:gd name="T105" fmla="*/ 75 h 1936"/>
                      <a:gd name="T106" fmla="*/ 1568 w 2359"/>
                      <a:gd name="T107" fmla="*/ 13 h 1936"/>
                      <a:gd name="T108" fmla="*/ 1588 w 2359"/>
                      <a:gd name="T109" fmla="*/ 75 h 1936"/>
                      <a:gd name="T110" fmla="*/ 1627 w 2359"/>
                      <a:gd name="T111" fmla="*/ 95 h 1936"/>
                      <a:gd name="T112" fmla="*/ 1987 w 2359"/>
                      <a:gd name="T113" fmla="*/ 113 h 1936"/>
                      <a:gd name="T114" fmla="*/ 2172 w 2359"/>
                      <a:gd name="T115" fmla="*/ 127 h 1936"/>
                      <a:gd name="T116" fmla="*/ 2232 w 2359"/>
                      <a:gd name="T117" fmla="*/ 235 h 1936"/>
                      <a:gd name="T118" fmla="*/ 2283 w 2359"/>
                      <a:gd name="T119" fmla="*/ 283 h 1936"/>
                      <a:gd name="T120" fmla="*/ 2309 w 2359"/>
                      <a:gd name="T121" fmla="*/ 400 h 1936"/>
                      <a:gd name="T122" fmla="*/ 2339 w 2359"/>
                      <a:gd name="T123" fmla="*/ 425 h 19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2359" h="1936">
                        <a:moveTo>
                          <a:pt x="2359" y="425"/>
                        </a:moveTo>
                        <a:lnTo>
                          <a:pt x="2356" y="525"/>
                        </a:lnTo>
                        <a:lnTo>
                          <a:pt x="2244" y="613"/>
                        </a:lnTo>
                        <a:lnTo>
                          <a:pt x="1996" y="710"/>
                        </a:lnTo>
                        <a:lnTo>
                          <a:pt x="1942" y="762"/>
                        </a:lnTo>
                        <a:lnTo>
                          <a:pt x="1897" y="835"/>
                        </a:lnTo>
                        <a:lnTo>
                          <a:pt x="1863" y="920"/>
                        </a:lnTo>
                        <a:lnTo>
                          <a:pt x="1839" y="1013"/>
                        </a:lnTo>
                        <a:lnTo>
                          <a:pt x="1833" y="1088"/>
                        </a:lnTo>
                        <a:lnTo>
                          <a:pt x="1836" y="1232"/>
                        </a:lnTo>
                        <a:lnTo>
                          <a:pt x="1823" y="1293"/>
                        </a:lnTo>
                        <a:lnTo>
                          <a:pt x="1784" y="1358"/>
                        </a:lnTo>
                        <a:lnTo>
                          <a:pt x="1731" y="1410"/>
                        </a:lnTo>
                        <a:lnTo>
                          <a:pt x="1669" y="1437"/>
                        </a:lnTo>
                        <a:lnTo>
                          <a:pt x="1571" y="1430"/>
                        </a:lnTo>
                        <a:lnTo>
                          <a:pt x="1526" y="1437"/>
                        </a:lnTo>
                        <a:lnTo>
                          <a:pt x="1487" y="1462"/>
                        </a:lnTo>
                        <a:lnTo>
                          <a:pt x="1463" y="1511"/>
                        </a:lnTo>
                        <a:lnTo>
                          <a:pt x="1451" y="1552"/>
                        </a:lnTo>
                        <a:lnTo>
                          <a:pt x="1437" y="1640"/>
                        </a:lnTo>
                        <a:lnTo>
                          <a:pt x="1422" y="1678"/>
                        </a:lnTo>
                        <a:lnTo>
                          <a:pt x="1388" y="1711"/>
                        </a:lnTo>
                        <a:lnTo>
                          <a:pt x="1353" y="1713"/>
                        </a:lnTo>
                        <a:lnTo>
                          <a:pt x="1313" y="1707"/>
                        </a:lnTo>
                        <a:lnTo>
                          <a:pt x="1268" y="1715"/>
                        </a:lnTo>
                        <a:lnTo>
                          <a:pt x="1238" y="1740"/>
                        </a:lnTo>
                        <a:lnTo>
                          <a:pt x="1174" y="1850"/>
                        </a:lnTo>
                        <a:lnTo>
                          <a:pt x="1142" y="1876"/>
                        </a:lnTo>
                        <a:lnTo>
                          <a:pt x="992" y="1936"/>
                        </a:lnTo>
                        <a:lnTo>
                          <a:pt x="978" y="1872"/>
                        </a:lnTo>
                        <a:lnTo>
                          <a:pt x="961" y="1822"/>
                        </a:lnTo>
                        <a:lnTo>
                          <a:pt x="949" y="1800"/>
                        </a:lnTo>
                        <a:lnTo>
                          <a:pt x="934" y="1782"/>
                        </a:lnTo>
                        <a:lnTo>
                          <a:pt x="917" y="1770"/>
                        </a:lnTo>
                        <a:lnTo>
                          <a:pt x="817" y="1741"/>
                        </a:lnTo>
                        <a:lnTo>
                          <a:pt x="806" y="1732"/>
                        </a:lnTo>
                        <a:lnTo>
                          <a:pt x="799" y="1720"/>
                        </a:lnTo>
                        <a:lnTo>
                          <a:pt x="794" y="1690"/>
                        </a:lnTo>
                        <a:lnTo>
                          <a:pt x="784" y="1663"/>
                        </a:lnTo>
                        <a:lnTo>
                          <a:pt x="773" y="1643"/>
                        </a:lnTo>
                        <a:lnTo>
                          <a:pt x="766" y="1637"/>
                        </a:lnTo>
                        <a:lnTo>
                          <a:pt x="723" y="1620"/>
                        </a:lnTo>
                        <a:lnTo>
                          <a:pt x="669" y="1612"/>
                        </a:lnTo>
                        <a:lnTo>
                          <a:pt x="611" y="1645"/>
                        </a:lnTo>
                        <a:lnTo>
                          <a:pt x="596" y="1647"/>
                        </a:lnTo>
                        <a:lnTo>
                          <a:pt x="582" y="1646"/>
                        </a:lnTo>
                        <a:lnTo>
                          <a:pt x="571" y="1638"/>
                        </a:lnTo>
                        <a:lnTo>
                          <a:pt x="551" y="1608"/>
                        </a:lnTo>
                        <a:lnTo>
                          <a:pt x="517" y="1581"/>
                        </a:lnTo>
                        <a:lnTo>
                          <a:pt x="452" y="1553"/>
                        </a:lnTo>
                        <a:lnTo>
                          <a:pt x="446" y="1513"/>
                        </a:lnTo>
                        <a:lnTo>
                          <a:pt x="437" y="1483"/>
                        </a:lnTo>
                        <a:lnTo>
                          <a:pt x="429" y="1472"/>
                        </a:lnTo>
                        <a:lnTo>
                          <a:pt x="420" y="1466"/>
                        </a:lnTo>
                        <a:lnTo>
                          <a:pt x="307" y="1442"/>
                        </a:lnTo>
                        <a:lnTo>
                          <a:pt x="230" y="1407"/>
                        </a:lnTo>
                        <a:lnTo>
                          <a:pt x="220" y="1398"/>
                        </a:lnTo>
                        <a:lnTo>
                          <a:pt x="213" y="1387"/>
                        </a:lnTo>
                        <a:lnTo>
                          <a:pt x="209" y="1372"/>
                        </a:lnTo>
                        <a:lnTo>
                          <a:pt x="214" y="1285"/>
                        </a:lnTo>
                        <a:lnTo>
                          <a:pt x="213" y="1266"/>
                        </a:lnTo>
                        <a:lnTo>
                          <a:pt x="208" y="1252"/>
                        </a:lnTo>
                        <a:lnTo>
                          <a:pt x="198" y="1245"/>
                        </a:lnTo>
                        <a:lnTo>
                          <a:pt x="184" y="1243"/>
                        </a:lnTo>
                        <a:lnTo>
                          <a:pt x="94" y="1275"/>
                        </a:lnTo>
                        <a:lnTo>
                          <a:pt x="62" y="1275"/>
                        </a:lnTo>
                        <a:lnTo>
                          <a:pt x="28" y="1260"/>
                        </a:lnTo>
                        <a:lnTo>
                          <a:pt x="14" y="1248"/>
                        </a:lnTo>
                        <a:lnTo>
                          <a:pt x="4" y="1236"/>
                        </a:lnTo>
                        <a:lnTo>
                          <a:pt x="0" y="1222"/>
                        </a:lnTo>
                        <a:lnTo>
                          <a:pt x="3" y="1210"/>
                        </a:lnTo>
                        <a:lnTo>
                          <a:pt x="32" y="1185"/>
                        </a:lnTo>
                        <a:lnTo>
                          <a:pt x="79" y="1116"/>
                        </a:lnTo>
                        <a:lnTo>
                          <a:pt x="88" y="1107"/>
                        </a:lnTo>
                        <a:lnTo>
                          <a:pt x="138" y="1088"/>
                        </a:lnTo>
                        <a:lnTo>
                          <a:pt x="162" y="1072"/>
                        </a:lnTo>
                        <a:lnTo>
                          <a:pt x="169" y="1061"/>
                        </a:lnTo>
                        <a:lnTo>
                          <a:pt x="173" y="1047"/>
                        </a:lnTo>
                        <a:lnTo>
                          <a:pt x="172" y="1031"/>
                        </a:lnTo>
                        <a:lnTo>
                          <a:pt x="167" y="1015"/>
                        </a:lnTo>
                        <a:lnTo>
                          <a:pt x="160" y="1003"/>
                        </a:lnTo>
                        <a:lnTo>
                          <a:pt x="153" y="996"/>
                        </a:lnTo>
                        <a:lnTo>
                          <a:pt x="104" y="967"/>
                        </a:lnTo>
                        <a:lnTo>
                          <a:pt x="80" y="933"/>
                        </a:lnTo>
                        <a:lnTo>
                          <a:pt x="55" y="881"/>
                        </a:lnTo>
                        <a:lnTo>
                          <a:pt x="39" y="826"/>
                        </a:lnTo>
                        <a:lnTo>
                          <a:pt x="38" y="802"/>
                        </a:lnTo>
                        <a:lnTo>
                          <a:pt x="42" y="783"/>
                        </a:lnTo>
                        <a:lnTo>
                          <a:pt x="72" y="730"/>
                        </a:lnTo>
                        <a:lnTo>
                          <a:pt x="74" y="723"/>
                        </a:lnTo>
                        <a:lnTo>
                          <a:pt x="84" y="742"/>
                        </a:lnTo>
                        <a:lnTo>
                          <a:pt x="97" y="753"/>
                        </a:lnTo>
                        <a:lnTo>
                          <a:pt x="105" y="756"/>
                        </a:lnTo>
                        <a:lnTo>
                          <a:pt x="114" y="752"/>
                        </a:lnTo>
                        <a:lnTo>
                          <a:pt x="122" y="743"/>
                        </a:lnTo>
                        <a:lnTo>
                          <a:pt x="127" y="730"/>
                        </a:lnTo>
                        <a:lnTo>
                          <a:pt x="135" y="677"/>
                        </a:lnTo>
                        <a:lnTo>
                          <a:pt x="140" y="662"/>
                        </a:lnTo>
                        <a:lnTo>
                          <a:pt x="148" y="652"/>
                        </a:lnTo>
                        <a:lnTo>
                          <a:pt x="162" y="648"/>
                        </a:lnTo>
                        <a:lnTo>
                          <a:pt x="282" y="646"/>
                        </a:lnTo>
                        <a:lnTo>
                          <a:pt x="296" y="647"/>
                        </a:lnTo>
                        <a:lnTo>
                          <a:pt x="303" y="642"/>
                        </a:lnTo>
                        <a:lnTo>
                          <a:pt x="328" y="610"/>
                        </a:lnTo>
                        <a:lnTo>
                          <a:pt x="392" y="548"/>
                        </a:lnTo>
                        <a:lnTo>
                          <a:pt x="398" y="541"/>
                        </a:lnTo>
                        <a:lnTo>
                          <a:pt x="414" y="506"/>
                        </a:lnTo>
                        <a:lnTo>
                          <a:pt x="398" y="486"/>
                        </a:lnTo>
                        <a:lnTo>
                          <a:pt x="383" y="438"/>
                        </a:lnTo>
                        <a:lnTo>
                          <a:pt x="386" y="390"/>
                        </a:lnTo>
                        <a:lnTo>
                          <a:pt x="394" y="343"/>
                        </a:lnTo>
                        <a:lnTo>
                          <a:pt x="439" y="350"/>
                        </a:lnTo>
                        <a:lnTo>
                          <a:pt x="468" y="361"/>
                        </a:lnTo>
                        <a:lnTo>
                          <a:pt x="514" y="400"/>
                        </a:lnTo>
                        <a:lnTo>
                          <a:pt x="553" y="421"/>
                        </a:lnTo>
                        <a:lnTo>
                          <a:pt x="569" y="423"/>
                        </a:lnTo>
                        <a:lnTo>
                          <a:pt x="648" y="460"/>
                        </a:lnTo>
                        <a:lnTo>
                          <a:pt x="667" y="463"/>
                        </a:lnTo>
                        <a:lnTo>
                          <a:pt x="678" y="460"/>
                        </a:lnTo>
                        <a:lnTo>
                          <a:pt x="689" y="450"/>
                        </a:lnTo>
                        <a:lnTo>
                          <a:pt x="699" y="433"/>
                        </a:lnTo>
                        <a:lnTo>
                          <a:pt x="715" y="400"/>
                        </a:lnTo>
                        <a:lnTo>
                          <a:pt x="733" y="382"/>
                        </a:lnTo>
                        <a:lnTo>
                          <a:pt x="757" y="368"/>
                        </a:lnTo>
                        <a:lnTo>
                          <a:pt x="789" y="355"/>
                        </a:lnTo>
                        <a:lnTo>
                          <a:pt x="803" y="351"/>
                        </a:lnTo>
                        <a:lnTo>
                          <a:pt x="934" y="353"/>
                        </a:lnTo>
                        <a:lnTo>
                          <a:pt x="948" y="352"/>
                        </a:lnTo>
                        <a:lnTo>
                          <a:pt x="959" y="347"/>
                        </a:lnTo>
                        <a:lnTo>
                          <a:pt x="973" y="331"/>
                        </a:lnTo>
                        <a:lnTo>
                          <a:pt x="977" y="318"/>
                        </a:lnTo>
                        <a:lnTo>
                          <a:pt x="977" y="306"/>
                        </a:lnTo>
                        <a:lnTo>
                          <a:pt x="973" y="288"/>
                        </a:lnTo>
                        <a:lnTo>
                          <a:pt x="960" y="260"/>
                        </a:lnTo>
                        <a:lnTo>
                          <a:pt x="958" y="248"/>
                        </a:lnTo>
                        <a:lnTo>
                          <a:pt x="960" y="240"/>
                        </a:lnTo>
                        <a:lnTo>
                          <a:pt x="968" y="233"/>
                        </a:lnTo>
                        <a:lnTo>
                          <a:pt x="990" y="225"/>
                        </a:lnTo>
                        <a:lnTo>
                          <a:pt x="1012" y="222"/>
                        </a:lnTo>
                        <a:lnTo>
                          <a:pt x="1039" y="223"/>
                        </a:lnTo>
                        <a:lnTo>
                          <a:pt x="1202" y="256"/>
                        </a:lnTo>
                        <a:lnTo>
                          <a:pt x="1251" y="235"/>
                        </a:lnTo>
                        <a:lnTo>
                          <a:pt x="1246" y="203"/>
                        </a:lnTo>
                        <a:lnTo>
                          <a:pt x="1246" y="176"/>
                        </a:lnTo>
                        <a:lnTo>
                          <a:pt x="1251" y="148"/>
                        </a:lnTo>
                        <a:lnTo>
                          <a:pt x="1263" y="133"/>
                        </a:lnTo>
                        <a:lnTo>
                          <a:pt x="1287" y="120"/>
                        </a:lnTo>
                        <a:lnTo>
                          <a:pt x="1301" y="102"/>
                        </a:lnTo>
                        <a:lnTo>
                          <a:pt x="1313" y="67"/>
                        </a:lnTo>
                        <a:lnTo>
                          <a:pt x="1321" y="55"/>
                        </a:lnTo>
                        <a:lnTo>
                          <a:pt x="1329" y="46"/>
                        </a:lnTo>
                        <a:lnTo>
                          <a:pt x="1338" y="42"/>
                        </a:lnTo>
                        <a:lnTo>
                          <a:pt x="1348" y="42"/>
                        </a:lnTo>
                        <a:lnTo>
                          <a:pt x="1358" y="46"/>
                        </a:lnTo>
                        <a:lnTo>
                          <a:pt x="1367" y="53"/>
                        </a:lnTo>
                        <a:lnTo>
                          <a:pt x="1384" y="73"/>
                        </a:lnTo>
                        <a:lnTo>
                          <a:pt x="1396" y="78"/>
                        </a:lnTo>
                        <a:lnTo>
                          <a:pt x="1418" y="81"/>
                        </a:lnTo>
                        <a:lnTo>
                          <a:pt x="1444" y="75"/>
                        </a:lnTo>
                        <a:lnTo>
                          <a:pt x="1473" y="0"/>
                        </a:lnTo>
                        <a:lnTo>
                          <a:pt x="1554" y="1"/>
                        </a:lnTo>
                        <a:lnTo>
                          <a:pt x="1568" y="13"/>
                        </a:lnTo>
                        <a:lnTo>
                          <a:pt x="1573" y="25"/>
                        </a:lnTo>
                        <a:lnTo>
                          <a:pt x="1581" y="61"/>
                        </a:lnTo>
                        <a:lnTo>
                          <a:pt x="1588" y="75"/>
                        </a:lnTo>
                        <a:lnTo>
                          <a:pt x="1598" y="85"/>
                        </a:lnTo>
                        <a:lnTo>
                          <a:pt x="1610" y="92"/>
                        </a:lnTo>
                        <a:lnTo>
                          <a:pt x="1627" y="95"/>
                        </a:lnTo>
                        <a:lnTo>
                          <a:pt x="1914" y="66"/>
                        </a:lnTo>
                        <a:lnTo>
                          <a:pt x="1932" y="73"/>
                        </a:lnTo>
                        <a:lnTo>
                          <a:pt x="1987" y="113"/>
                        </a:lnTo>
                        <a:lnTo>
                          <a:pt x="1999" y="117"/>
                        </a:lnTo>
                        <a:lnTo>
                          <a:pt x="2139" y="116"/>
                        </a:lnTo>
                        <a:lnTo>
                          <a:pt x="2172" y="127"/>
                        </a:lnTo>
                        <a:lnTo>
                          <a:pt x="2181" y="138"/>
                        </a:lnTo>
                        <a:lnTo>
                          <a:pt x="2219" y="221"/>
                        </a:lnTo>
                        <a:lnTo>
                          <a:pt x="2232" y="235"/>
                        </a:lnTo>
                        <a:lnTo>
                          <a:pt x="2263" y="255"/>
                        </a:lnTo>
                        <a:lnTo>
                          <a:pt x="2274" y="268"/>
                        </a:lnTo>
                        <a:lnTo>
                          <a:pt x="2283" y="283"/>
                        </a:lnTo>
                        <a:lnTo>
                          <a:pt x="2288" y="302"/>
                        </a:lnTo>
                        <a:lnTo>
                          <a:pt x="2303" y="383"/>
                        </a:lnTo>
                        <a:lnTo>
                          <a:pt x="2309" y="400"/>
                        </a:lnTo>
                        <a:lnTo>
                          <a:pt x="2318" y="412"/>
                        </a:lnTo>
                        <a:lnTo>
                          <a:pt x="2328" y="420"/>
                        </a:lnTo>
                        <a:lnTo>
                          <a:pt x="2339" y="425"/>
                        </a:lnTo>
                        <a:lnTo>
                          <a:pt x="2359" y="425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5" name="Prague" descr="{&quot;Key&quot;:&quot;prague&quot;,&quot;Name&quot;:&quot;Prague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E94C01E0-8CBB-C5C3-9403-35FEB1149DF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94" y="2183"/>
                    <a:ext cx="379" cy="274"/>
                  </a:xfrm>
                  <a:custGeom>
                    <a:avLst/>
                    <a:gdLst>
                      <a:gd name="T0" fmla="*/ 785 w 870"/>
                      <a:gd name="T1" fmla="*/ 163 h 628"/>
                      <a:gd name="T2" fmla="*/ 810 w 870"/>
                      <a:gd name="T3" fmla="*/ 185 h 628"/>
                      <a:gd name="T4" fmla="*/ 860 w 870"/>
                      <a:gd name="T5" fmla="*/ 206 h 628"/>
                      <a:gd name="T6" fmla="*/ 870 w 870"/>
                      <a:gd name="T7" fmla="*/ 235 h 628"/>
                      <a:gd name="T8" fmla="*/ 850 w 870"/>
                      <a:gd name="T9" fmla="*/ 275 h 628"/>
                      <a:gd name="T10" fmla="*/ 793 w 870"/>
                      <a:gd name="T11" fmla="*/ 334 h 628"/>
                      <a:gd name="T12" fmla="*/ 800 w 870"/>
                      <a:gd name="T13" fmla="*/ 368 h 628"/>
                      <a:gd name="T14" fmla="*/ 801 w 870"/>
                      <a:gd name="T15" fmla="*/ 410 h 628"/>
                      <a:gd name="T16" fmla="*/ 814 w 870"/>
                      <a:gd name="T17" fmla="*/ 445 h 628"/>
                      <a:gd name="T18" fmla="*/ 800 w 870"/>
                      <a:gd name="T19" fmla="*/ 486 h 628"/>
                      <a:gd name="T20" fmla="*/ 693 w 870"/>
                      <a:gd name="T21" fmla="*/ 500 h 628"/>
                      <a:gd name="T22" fmla="*/ 634 w 870"/>
                      <a:gd name="T23" fmla="*/ 490 h 628"/>
                      <a:gd name="T24" fmla="*/ 608 w 870"/>
                      <a:gd name="T25" fmla="*/ 486 h 628"/>
                      <a:gd name="T26" fmla="*/ 560 w 870"/>
                      <a:gd name="T27" fmla="*/ 514 h 628"/>
                      <a:gd name="T28" fmla="*/ 521 w 870"/>
                      <a:gd name="T29" fmla="*/ 545 h 628"/>
                      <a:gd name="T30" fmla="*/ 306 w 870"/>
                      <a:gd name="T31" fmla="*/ 595 h 628"/>
                      <a:gd name="T32" fmla="*/ 203 w 870"/>
                      <a:gd name="T33" fmla="*/ 621 h 628"/>
                      <a:gd name="T34" fmla="*/ 190 w 870"/>
                      <a:gd name="T35" fmla="*/ 593 h 628"/>
                      <a:gd name="T36" fmla="*/ 188 w 870"/>
                      <a:gd name="T37" fmla="*/ 524 h 628"/>
                      <a:gd name="T38" fmla="*/ 125 w 870"/>
                      <a:gd name="T39" fmla="*/ 443 h 628"/>
                      <a:gd name="T40" fmla="*/ 101 w 870"/>
                      <a:gd name="T41" fmla="*/ 381 h 628"/>
                      <a:gd name="T42" fmla="*/ 50 w 870"/>
                      <a:gd name="T43" fmla="*/ 315 h 628"/>
                      <a:gd name="T44" fmla="*/ 60 w 870"/>
                      <a:gd name="T45" fmla="*/ 269 h 628"/>
                      <a:gd name="T46" fmla="*/ 42 w 870"/>
                      <a:gd name="T47" fmla="*/ 241 h 628"/>
                      <a:gd name="T48" fmla="*/ 0 w 870"/>
                      <a:gd name="T49" fmla="*/ 209 h 628"/>
                      <a:gd name="T50" fmla="*/ 8 w 870"/>
                      <a:gd name="T51" fmla="*/ 191 h 628"/>
                      <a:gd name="T52" fmla="*/ 130 w 870"/>
                      <a:gd name="T53" fmla="*/ 138 h 628"/>
                      <a:gd name="T54" fmla="*/ 198 w 870"/>
                      <a:gd name="T55" fmla="*/ 158 h 628"/>
                      <a:gd name="T56" fmla="*/ 217 w 870"/>
                      <a:gd name="T57" fmla="*/ 157 h 628"/>
                      <a:gd name="T58" fmla="*/ 238 w 870"/>
                      <a:gd name="T59" fmla="*/ 135 h 628"/>
                      <a:gd name="T60" fmla="*/ 238 w 870"/>
                      <a:gd name="T61" fmla="*/ 88 h 628"/>
                      <a:gd name="T62" fmla="*/ 489 w 870"/>
                      <a:gd name="T63" fmla="*/ 10 h 628"/>
                      <a:gd name="T64" fmla="*/ 600 w 870"/>
                      <a:gd name="T65" fmla="*/ 4 h 628"/>
                      <a:gd name="T66" fmla="*/ 650 w 870"/>
                      <a:gd name="T67" fmla="*/ 47 h 628"/>
                      <a:gd name="T68" fmla="*/ 681 w 870"/>
                      <a:gd name="T69" fmla="*/ 74 h 628"/>
                      <a:gd name="T70" fmla="*/ 695 w 870"/>
                      <a:gd name="T71" fmla="*/ 105 h 628"/>
                      <a:gd name="T72" fmla="*/ 753 w 870"/>
                      <a:gd name="T73" fmla="*/ 123 h 628"/>
                      <a:gd name="T74" fmla="*/ 779 w 870"/>
                      <a:gd name="T75" fmla="*/ 150 h 6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870" h="628">
                        <a:moveTo>
                          <a:pt x="779" y="150"/>
                        </a:moveTo>
                        <a:lnTo>
                          <a:pt x="785" y="163"/>
                        </a:lnTo>
                        <a:lnTo>
                          <a:pt x="798" y="178"/>
                        </a:lnTo>
                        <a:lnTo>
                          <a:pt x="810" y="185"/>
                        </a:lnTo>
                        <a:lnTo>
                          <a:pt x="849" y="198"/>
                        </a:lnTo>
                        <a:lnTo>
                          <a:pt x="860" y="206"/>
                        </a:lnTo>
                        <a:lnTo>
                          <a:pt x="868" y="220"/>
                        </a:lnTo>
                        <a:lnTo>
                          <a:pt x="870" y="235"/>
                        </a:lnTo>
                        <a:lnTo>
                          <a:pt x="865" y="254"/>
                        </a:lnTo>
                        <a:lnTo>
                          <a:pt x="850" y="275"/>
                        </a:lnTo>
                        <a:lnTo>
                          <a:pt x="798" y="325"/>
                        </a:lnTo>
                        <a:lnTo>
                          <a:pt x="793" y="334"/>
                        </a:lnTo>
                        <a:lnTo>
                          <a:pt x="790" y="344"/>
                        </a:lnTo>
                        <a:lnTo>
                          <a:pt x="800" y="368"/>
                        </a:lnTo>
                        <a:lnTo>
                          <a:pt x="804" y="384"/>
                        </a:lnTo>
                        <a:lnTo>
                          <a:pt x="801" y="410"/>
                        </a:lnTo>
                        <a:lnTo>
                          <a:pt x="803" y="418"/>
                        </a:lnTo>
                        <a:lnTo>
                          <a:pt x="814" y="445"/>
                        </a:lnTo>
                        <a:lnTo>
                          <a:pt x="814" y="459"/>
                        </a:lnTo>
                        <a:lnTo>
                          <a:pt x="800" y="486"/>
                        </a:lnTo>
                        <a:lnTo>
                          <a:pt x="759" y="496"/>
                        </a:lnTo>
                        <a:lnTo>
                          <a:pt x="693" y="500"/>
                        </a:lnTo>
                        <a:lnTo>
                          <a:pt x="660" y="496"/>
                        </a:lnTo>
                        <a:lnTo>
                          <a:pt x="634" y="490"/>
                        </a:lnTo>
                        <a:lnTo>
                          <a:pt x="625" y="485"/>
                        </a:lnTo>
                        <a:lnTo>
                          <a:pt x="608" y="486"/>
                        </a:lnTo>
                        <a:lnTo>
                          <a:pt x="590" y="491"/>
                        </a:lnTo>
                        <a:lnTo>
                          <a:pt x="560" y="514"/>
                        </a:lnTo>
                        <a:lnTo>
                          <a:pt x="533" y="539"/>
                        </a:lnTo>
                        <a:lnTo>
                          <a:pt x="521" y="545"/>
                        </a:lnTo>
                        <a:lnTo>
                          <a:pt x="439" y="571"/>
                        </a:lnTo>
                        <a:lnTo>
                          <a:pt x="306" y="595"/>
                        </a:lnTo>
                        <a:lnTo>
                          <a:pt x="229" y="628"/>
                        </a:lnTo>
                        <a:lnTo>
                          <a:pt x="203" y="621"/>
                        </a:lnTo>
                        <a:lnTo>
                          <a:pt x="193" y="610"/>
                        </a:lnTo>
                        <a:lnTo>
                          <a:pt x="190" y="593"/>
                        </a:lnTo>
                        <a:lnTo>
                          <a:pt x="194" y="545"/>
                        </a:lnTo>
                        <a:lnTo>
                          <a:pt x="188" y="524"/>
                        </a:lnTo>
                        <a:lnTo>
                          <a:pt x="138" y="466"/>
                        </a:lnTo>
                        <a:lnTo>
                          <a:pt x="125" y="443"/>
                        </a:lnTo>
                        <a:lnTo>
                          <a:pt x="115" y="408"/>
                        </a:lnTo>
                        <a:lnTo>
                          <a:pt x="101" y="381"/>
                        </a:lnTo>
                        <a:lnTo>
                          <a:pt x="56" y="324"/>
                        </a:lnTo>
                        <a:lnTo>
                          <a:pt x="50" y="315"/>
                        </a:lnTo>
                        <a:lnTo>
                          <a:pt x="49" y="301"/>
                        </a:lnTo>
                        <a:lnTo>
                          <a:pt x="60" y="269"/>
                        </a:lnTo>
                        <a:lnTo>
                          <a:pt x="59" y="256"/>
                        </a:lnTo>
                        <a:lnTo>
                          <a:pt x="42" y="241"/>
                        </a:lnTo>
                        <a:lnTo>
                          <a:pt x="9" y="220"/>
                        </a:lnTo>
                        <a:lnTo>
                          <a:pt x="0" y="209"/>
                        </a:lnTo>
                        <a:lnTo>
                          <a:pt x="1" y="200"/>
                        </a:lnTo>
                        <a:lnTo>
                          <a:pt x="8" y="191"/>
                        </a:lnTo>
                        <a:lnTo>
                          <a:pt x="43" y="170"/>
                        </a:lnTo>
                        <a:lnTo>
                          <a:pt x="130" y="138"/>
                        </a:lnTo>
                        <a:lnTo>
                          <a:pt x="151" y="138"/>
                        </a:lnTo>
                        <a:lnTo>
                          <a:pt x="198" y="158"/>
                        </a:lnTo>
                        <a:lnTo>
                          <a:pt x="206" y="159"/>
                        </a:lnTo>
                        <a:lnTo>
                          <a:pt x="217" y="157"/>
                        </a:lnTo>
                        <a:lnTo>
                          <a:pt x="228" y="150"/>
                        </a:lnTo>
                        <a:lnTo>
                          <a:pt x="238" y="135"/>
                        </a:lnTo>
                        <a:lnTo>
                          <a:pt x="233" y="104"/>
                        </a:lnTo>
                        <a:lnTo>
                          <a:pt x="238" y="88"/>
                        </a:lnTo>
                        <a:lnTo>
                          <a:pt x="245" y="82"/>
                        </a:lnTo>
                        <a:lnTo>
                          <a:pt x="489" y="10"/>
                        </a:lnTo>
                        <a:lnTo>
                          <a:pt x="580" y="0"/>
                        </a:lnTo>
                        <a:lnTo>
                          <a:pt x="600" y="4"/>
                        </a:lnTo>
                        <a:lnTo>
                          <a:pt x="621" y="17"/>
                        </a:lnTo>
                        <a:lnTo>
                          <a:pt x="650" y="47"/>
                        </a:lnTo>
                        <a:lnTo>
                          <a:pt x="673" y="64"/>
                        </a:lnTo>
                        <a:lnTo>
                          <a:pt x="681" y="74"/>
                        </a:lnTo>
                        <a:lnTo>
                          <a:pt x="688" y="93"/>
                        </a:lnTo>
                        <a:lnTo>
                          <a:pt x="695" y="105"/>
                        </a:lnTo>
                        <a:lnTo>
                          <a:pt x="709" y="112"/>
                        </a:lnTo>
                        <a:lnTo>
                          <a:pt x="753" y="123"/>
                        </a:lnTo>
                        <a:lnTo>
                          <a:pt x="766" y="133"/>
                        </a:lnTo>
                        <a:lnTo>
                          <a:pt x="779" y="150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76" name="Liberecký" descr="{&quot;Key&quot;:&quot;liberecký&quot;,&quot;Name&quot;:&quot;Liberecký&quot;,&quot;Value&quot;:1.0,&quot;Formula&quot;:&quot;&quot;,&quot;Text&quot;:&quot;&quot;,&quot;OfficeApplication&quot;:1,&quot;HasValue&quot;:true}">
                    <a:extLst>
                      <a:ext uri="{FF2B5EF4-FFF2-40B4-BE49-F238E27FC236}">
                        <a16:creationId xmlns:a16="http://schemas.microsoft.com/office/drawing/2014/main" id="{F896F016-8731-6B60-AFE7-E42D158D82A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95" y="1102"/>
                    <a:ext cx="1035" cy="714"/>
                  </a:xfrm>
                  <a:custGeom>
                    <a:avLst/>
                    <a:gdLst>
                      <a:gd name="T0" fmla="*/ 2276 w 2372"/>
                      <a:gd name="T1" fmla="*/ 930 h 1635"/>
                      <a:gd name="T2" fmla="*/ 2258 w 2372"/>
                      <a:gd name="T3" fmla="*/ 1010 h 1635"/>
                      <a:gd name="T4" fmla="*/ 2297 w 2372"/>
                      <a:gd name="T5" fmla="*/ 1145 h 1635"/>
                      <a:gd name="T6" fmla="*/ 2314 w 2372"/>
                      <a:gd name="T7" fmla="*/ 1229 h 1635"/>
                      <a:gd name="T8" fmla="*/ 2371 w 2372"/>
                      <a:gd name="T9" fmla="*/ 1476 h 1635"/>
                      <a:gd name="T10" fmla="*/ 2352 w 2372"/>
                      <a:gd name="T11" fmla="*/ 1537 h 1635"/>
                      <a:gd name="T12" fmla="*/ 2137 w 2372"/>
                      <a:gd name="T13" fmla="*/ 1460 h 1635"/>
                      <a:gd name="T14" fmla="*/ 2047 w 2372"/>
                      <a:gd name="T15" fmla="*/ 1477 h 1635"/>
                      <a:gd name="T16" fmla="*/ 2023 w 2372"/>
                      <a:gd name="T17" fmla="*/ 1621 h 1635"/>
                      <a:gd name="T18" fmla="*/ 1973 w 2372"/>
                      <a:gd name="T19" fmla="*/ 1627 h 1635"/>
                      <a:gd name="T20" fmla="*/ 1774 w 2372"/>
                      <a:gd name="T21" fmla="*/ 1470 h 1635"/>
                      <a:gd name="T22" fmla="*/ 1646 w 2372"/>
                      <a:gd name="T23" fmla="*/ 1572 h 1635"/>
                      <a:gd name="T24" fmla="*/ 1491 w 2372"/>
                      <a:gd name="T25" fmla="*/ 1467 h 1635"/>
                      <a:gd name="T26" fmla="*/ 1377 w 2372"/>
                      <a:gd name="T27" fmla="*/ 1382 h 1635"/>
                      <a:gd name="T28" fmla="*/ 1276 w 2372"/>
                      <a:gd name="T29" fmla="*/ 1291 h 1635"/>
                      <a:gd name="T30" fmla="*/ 1177 w 2372"/>
                      <a:gd name="T31" fmla="*/ 1243 h 1635"/>
                      <a:gd name="T32" fmla="*/ 1118 w 2372"/>
                      <a:gd name="T33" fmla="*/ 1222 h 1635"/>
                      <a:gd name="T34" fmla="*/ 1053 w 2372"/>
                      <a:gd name="T35" fmla="*/ 1224 h 1635"/>
                      <a:gd name="T36" fmla="*/ 1006 w 2372"/>
                      <a:gd name="T37" fmla="*/ 1285 h 1635"/>
                      <a:gd name="T38" fmla="*/ 915 w 2372"/>
                      <a:gd name="T39" fmla="*/ 1397 h 1635"/>
                      <a:gd name="T40" fmla="*/ 833 w 2372"/>
                      <a:gd name="T41" fmla="*/ 1458 h 1635"/>
                      <a:gd name="T42" fmla="*/ 509 w 2372"/>
                      <a:gd name="T43" fmla="*/ 1596 h 1635"/>
                      <a:gd name="T44" fmla="*/ 445 w 2372"/>
                      <a:gd name="T45" fmla="*/ 1553 h 1635"/>
                      <a:gd name="T46" fmla="*/ 389 w 2372"/>
                      <a:gd name="T47" fmla="*/ 1533 h 1635"/>
                      <a:gd name="T48" fmla="*/ 238 w 2372"/>
                      <a:gd name="T49" fmla="*/ 1470 h 1635"/>
                      <a:gd name="T50" fmla="*/ 3 w 2372"/>
                      <a:gd name="T51" fmla="*/ 1005 h 1635"/>
                      <a:gd name="T52" fmla="*/ 78 w 2372"/>
                      <a:gd name="T53" fmla="*/ 880 h 1635"/>
                      <a:gd name="T54" fmla="*/ 134 w 2372"/>
                      <a:gd name="T55" fmla="*/ 807 h 1635"/>
                      <a:gd name="T56" fmla="*/ 175 w 2372"/>
                      <a:gd name="T57" fmla="*/ 716 h 1635"/>
                      <a:gd name="T58" fmla="*/ 227 w 2372"/>
                      <a:gd name="T59" fmla="*/ 585 h 1635"/>
                      <a:gd name="T60" fmla="*/ 368 w 2372"/>
                      <a:gd name="T61" fmla="*/ 675 h 1635"/>
                      <a:gd name="T62" fmla="*/ 398 w 2372"/>
                      <a:gd name="T63" fmla="*/ 575 h 1635"/>
                      <a:gd name="T64" fmla="*/ 470 w 2372"/>
                      <a:gd name="T65" fmla="*/ 538 h 1635"/>
                      <a:gd name="T66" fmla="*/ 507 w 2372"/>
                      <a:gd name="T67" fmla="*/ 513 h 1635"/>
                      <a:gd name="T68" fmla="*/ 735 w 2372"/>
                      <a:gd name="T69" fmla="*/ 615 h 1635"/>
                      <a:gd name="T70" fmla="*/ 842 w 2372"/>
                      <a:gd name="T71" fmla="*/ 553 h 1635"/>
                      <a:gd name="T72" fmla="*/ 1187 w 2372"/>
                      <a:gd name="T73" fmla="*/ 473 h 1635"/>
                      <a:gd name="T74" fmla="*/ 1187 w 2372"/>
                      <a:gd name="T75" fmla="*/ 311 h 1635"/>
                      <a:gd name="T76" fmla="*/ 1214 w 2372"/>
                      <a:gd name="T77" fmla="*/ 181 h 1635"/>
                      <a:gd name="T78" fmla="*/ 1167 w 2372"/>
                      <a:gd name="T79" fmla="*/ 65 h 1635"/>
                      <a:gd name="T80" fmla="*/ 1228 w 2372"/>
                      <a:gd name="T81" fmla="*/ 0 h 1635"/>
                      <a:gd name="T82" fmla="*/ 1393 w 2372"/>
                      <a:gd name="T83" fmla="*/ 103 h 1635"/>
                      <a:gd name="T84" fmla="*/ 1463 w 2372"/>
                      <a:gd name="T85" fmla="*/ 43 h 1635"/>
                      <a:gd name="T86" fmla="*/ 1534 w 2372"/>
                      <a:gd name="T87" fmla="*/ 126 h 1635"/>
                      <a:gd name="T88" fmla="*/ 1715 w 2372"/>
                      <a:gd name="T89" fmla="*/ 228 h 1635"/>
                      <a:gd name="T90" fmla="*/ 1709 w 2372"/>
                      <a:gd name="T91" fmla="*/ 406 h 1635"/>
                      <a:gd name="T92" fmla="*/ 1822 w 2372"/>
                      <a:gd name="T93" fmla="*/ 530 h 1635"/>
                      <a:gd name="T94" fmla="*/ 1867 w 2372"/>
                      <a:gd name="T95" fmla="*/ 666 h 1635"/>
                      <a:gd name="T96" fmla="*/ 1924 w 2372"/>
                      <a:gd name="T97" fmla="*/ 705 h 1635"/>
                      <a:gd name="T98" fmla="*/ 2183 w 2372"/>
                      <a:gd name="T99" fmla="*/ 697 h 16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2372" h="1635">
                        <a:moveTo>
                          <a:pt x="2183" y="697"/>
                        </a:moveTo>
                        <a:lnTo>
                          <a:pt x="2209" y="782"/>
                        </a:lnTo>
                        <a:lnTo>
                          <a:pt x="2271" y="906"/>
                        </a:lnTo>
                        <a:lnTo>
                          <a:pt x="2276" y="930"/>
                        </a:lnTo>
                        <a:lnTo>
                          <a:pt x="2272" y="946"/>
                        </a:lnTo>
                        <a:lnTo>
                          <a:pt x="2266" y="962"/>
                        </a:lnTo>
                        <a:lnTo>
                          <a:pt x="2261" y="984"/>
                        </a:lnTo>
                        <a:lnTo>
                          <a:pt x="2258" y="1010"/>
                        </a:lnTo>
                        <a:lnTo>
                          <a:pt x="2261" y="1067"/>
                        </a:lnTo>
                        <a:lnTo>
                          <a:pt x="2266" y="1093"/>
                        </a:lnTo>
                        <a:lnTo>
                          <a:pt x="2274" y="1115"/>
                        </a:lnTo>
                        <a:lnTo>
                          <a:pt x="2297" y="1145"/>
                        </a:lnTo>
                        <a:lnTo>
                          <a:pt x="2306" y="1160"/>
                        </a:lnTo>
                        <a:lnTo>
                          <a:pt x="2312" y="1176"/>
                        </a:lnTo>
                        <a:lnTo>
                          <a:pt x="2314" y="1192"/>
                        </a:lnTo>
                        <a:lnTo>
                          <a:pt x="2314" y="1229"/>
                        </a:lnTo>
                        <a:lnTo>
                          <a:pt x="2301" y="1290"/>
                        </a:lnTo>
                        <a:lnTo>
                          <a:pt x="2304" y="1312"/>
                        </a:lnTo>
                        <a:lnTo>
                          <a:pt x="2367" y="1459"/>
                        </a:lnTo>
                        <a:lnTo>
                          <a:pt x="2371" y="1476"/>
                        </a:lnTo>
                        <a:lnTo>
                          <a:pt x="2372" y="1494"/>
                        </a:lnTo>
                        <a:lnTo>
                          <a:pt x="2369" y="1512"/>
                        </a:lnTo>
                        <a:lnTo>
                          <a:pt x="2362" y="1529"/>
                        </a:lnTo>
                        <a:lnTo>
                          <a:pt x="2352" y="1537"/>
                        </a:lnTo>
                        <a:lnTo>
                          <a:pt x="2338" y="1540"/>
                        </a:lnTo>
                        <a:lnTo>
                          <a:pt x="2197" y="1515"/>
                        </a:lnTo>
                        <a:lnTo>
                          <a:pt x="2176" y="1501"/>
                        </a:lnTo>
                        <a:lnTo>
                          <a:pt x="2137" y="1460"/>
                        </a:lnTo>
                        <a:lnTo>
                          <a:pt x="2127" y="1454"/>
                        </a:lnTo>
                        <a:lnTo>
                          <a:pt x="2106" y="1454"/>
                        </a:lnTo>
                        <a:lnTo>
                          <a:pt x="2058" y="1470"/>
                        </a:lnTo>
                        <a:lnTo>
                          <a:pt x="2047" y="1477"/>
                        </a:lnTo>
                        <a:lnTo>
                          <a:pt x="2042" y="1493"/>
                        </a:lnTo>
                        <a:lnTo>
                          <a:pt x="2036" y="1586"/>
                        </a:lnTo>
                        <a:lnTo>
                          <a:pt x="2031" y="1606"/>
                        </a:lnTo>
                        <a:lnTo>
                          <a:pt x="2023" y="1621"/>
                        </a:lnTo>
                        <a:lnTo>
                          <a:pt x="2012" y="1631"/>
                        </a:lnTo>
                        <a:lnTo>
                          <a:pt x="1999" y="1635"/>
                        </a:lnTo>
                        <a:lnTo>
                          <a:pt x="1987" y="1633"/>
                        </a:lnTo>
                        <a:lnTo>
                          <a:pt x="1973" y="1627"/>
                        </a:lnTo>
                        <a:lnTo>
                          <a:pt x="1946" y="1603"/>
                        </a:lnTo>
                        <a:lnTo>
                          <a:pt x="1889" y="1531"/>
                        </a:lnTo>
                        <a:lnTo>
                          <a:pt x="1854" y="1502"/>
                        </a:lnTo>
                        <a:lnTo>
                          <a:pt x="1774" y="1470"/>
                        </a:lnTo>
                        <a:lnTo>
                          <a:pt x="1754" y="1470"/>
                        </a:lnTo>
                        <a:lnTo>
                          <a:pt x="1736" y="1477"/>
                        </a:lnTo>
                        <a:lnTo>
                          <a:pt x="1657" y="1567"/>
                        </a:lnTo>
                        <a:lnTo>
                          <a:pt x="1646" y="1572"/>
                        </a:lnTo>
                        <a:lnTo>
                          <a:pt x="1634" y="1571"/>
                        </a:lnTo>
                        <a:lnTo>
                          <a:pt x="1622" y="1565"/>
                        </a:lnTo>
                        <a:lnTo>
                          <a:pt x="1519" y="1478"/>
                        </a:lnTo>
                        <a:lnTo>
                          <a:pt x="1491" y="1467"/>
                        </a:lnTo>
                        <a:lnTo>
                          <a:pt x="1472" y="1470"/>
                        </a:lnTo>
                        <a:lnTo>
                          <a:pt x="1462" y="1477"/>
                        </a:lnTo>
                        <a:lnTo>
                          <a:pt x="1396" y="1418"/>
                        </a:lnTo>
                        <a:lnTo>
                          <a:pt x="1377" y="1382"/>
                        </a:lnTo>
                        <a:lnTo>
                          <a:pt x="1361" y="1297"/>
                        </a:lnTo>
                        <a:lnTo>
                          <a:pt x="1313" y="1310"/>
                        </a:lnTo>
                        <a:lnTo>
                          <a:pt x="1287" y="1302"/>
                        </a:lnTo>
                        <a:lnTo>
                          <a:pt x="1276" y="1291"/>
                        </a:lnTo>
                        <a:lnTo>
                          <a:pt x="1241" y="1250"/>
                        </a:lnTo>
                        <a:lnTo>
                          <a:pt x="1231" y="1242"/>
                        </a:lnTo>
                        <a:lnTo>
                          <a:pt x="1221" y="1240"/>
                        </a:lnTo>
                        <a:lnTo>
                          <a:pt x="1177" y="1243"/>
                        </a:lnTo>
                        <a:lnTo>
                          <a:pt x="1162" y="1236"/>
                        </a:lnTo>
                        <a:lnTo>
                          <a:pt x="1144" y="1221"/>
                        </a:lnTo>
                        <a:lnTo>
                          <a:pt x="1131" y="1220"/>
                        </a:lnTo>
                        <a:lnTo>
                          <a:pt x="1118" y="1222"/>
                        </a:lnTo>
                        <a:lnTo>
                          <a:pt x="1097" y="1232"/>
                        </a:lnTo>
                        <a:lnTo>
                          <a:pt x="1082" y="1232"/>
                        </a:lnTo>
                        <a:lnTo>
                          <a:pt x="1063" y="1225"/>
                        </a:lnTo>
                        <a:lnTo>
                          <a:pt x="1053" y="1224"/>
                        </a:lnTo>
                        <a:lnTo>
                          <a:pt x="1044" y="1227"/>
                        </a:lnTo>
                        <a:lnTo>
                          <a:pt x="1037" y="1236"/>
                        </a:lnTo>
                        <a:lnTo>
                          <a:pt x="1016" y="1271"/>
                        </a:lnTo>
                        <a:lnTo>
                          <a:pt x="1006" y="1285"/>
                        </a:lnTo>
                        <a:lnTo>
                          <a:pt x="967" y="1317"/>
                        </a:lnTo>
                        <a:lnTo>
                          <a:pt x="948" y="1341"/>
                        </a:lnTo>
                        <a:lnTo>
                          <a:pt x="928" y="1380"/>
                        </a:lnTo>
                        <a:lnTo>
                          <a:pt x="915" y="1397"/>
                        </a:lnTo>
                        <a:lnTo>
                          <a:pt x="899" y="1411"/>
                        </a:lnTo>
                        <a:lnTo>
                          <a:pt x="869" y="1427"/>
                        </a:lnTo>
                        <a:lnTo>
                          <a:pt x="855" y="1437"/>
                        </a:lnTo>
                        <a:lnTo>
                          <a:pt x="833" y="1458"/>
                        </a:lnTo>
                        <a:lnTo>
                          <a:pt x="817" y="1471"/>
                        </a:lnTo>
                        <a:lnTo>
                          <a:pt x="749" y="1503"/>
                        </a:lnTo>
                        <a:lnTo>
                          <a:pt x="674" y="1553"/>
                        </a:lnTo>
                        <a:lnTo>
                          <a:pt x="509" y="1596"/>
                        </a:lnTo>
                        <a:lnTo>
                          <a:pt x="477" y="1600"/>
                        </a:lnTo>
                        <a:lnTo>
                          <a:pt x="460" y="1597"/>
                        </a:lnTo>
                        <a:lnTo>
                          <a:pt x="452" y="1586"/>
                        </a:lnTo>
                        <a:lnTo>
                          <a:pt x="445" y="1553"/>
                        </a:lnTo>
                        <a:lnTo>
                          <a:pt x="439" y="1539"/>
                        </a:lnTo>
                        <a:lnTo>
                          <a:pt x="430" y="1533"/>
                        </a:lnTo>
                        <a:lnTo>
                          <a:pt x="418" y="1532"/>
                        </a:lnTo>
                        <a:lnTo>
                          <a:pt x="389" y="1533"/>
                        </a:lnTo>
                        <a:lnTo>
                          <a:pt x="354" y="1528"/>
                        </a:lnTo>
                        <a:lnTo>
                          <a:pt x="272" y="1530"/>
                        </a:lnTo>
                        <a:lnTo>
                          <a:pt x="252" y="1536"/>
                        </a:lnTo>
                        <a:lnTo>
                          <a:pt x="238" y="1470"/>
                        </a:lnTo>
                        <a:lnTo>
                          <a:pt x="107" y="1361"/>
                        </a:lnTo>
                        <a:lnTo>
                          <a:pt x="3" y="1033"/>
                        </a:lnTo>
                        <a:lnTo>
                          <a:pt x="0" y="1017"/>
                        </a:lnTo>
                        <a:lnTo>
                          <a:pt x="3" y="1005"/>
                        </a:lnTo>
                        <a:lnTo>
                          <a:pt x="9" y="993"/>
                        </a:lnTo>
                        <a:lnTo>
                          <a:pt x="18" y="983"/>
                        </a:lnTo>
                        <a:lnTo>
                          <a:pt x="44" y="967"/>
                        </a:lnTo>
                        <a:lnTo>
                          <a:pt x="78" y="880"/>
                        </a:lnTo>
                        <a:lnTo>
                          <a:pt x="85" y="870"/>
                        </a:lnTo>
                        <a:lnTo>
                          <a:pt x="127" y="830"/>
                        </a:lnTo>
                        <a:lnTo>
                          <a:pt x="132" y="820"/>
                        </a:lnTo>
                        <a:lnTo>
                          <a:pt x="134" y="807"/>
                        </a:lnTo>
                        <a:lnTo>
                          <a:pt x="134" y="777"/>
                        </a:lnTo>
                        <a:lnTo>
                          <a:pt x="138" y="762"/>
                        </a:lnTo>
                        <a:lnTo>
                          <a:pt x="152" y="738"/>
                        </a:lnTo>
                        <a:lnTo>
                          <a:pt x="175" y="716"/>
                        </a:lnTo>
                        <a:lnTo>
                          <a:pt x="197" y="596"/>
                        </a:lnTo>
                        <a:lnTo>
                          <a:pt x="203" y="581"/>
                        </a:lnTo>
                        <a:lnTo>
                          <a:pt x="213" y="578"/>
                        </a:lnTo>
                        <a:lnTo>
                          <a:pt x="227" y="585"/>
                        </a:lnTo>
                        <a:lnTo>
                          <a:pt x="323" y="685"/>
                        </a:lnTo>
                        <a:lnTo>
                          <a:pt x="338" y="688"/>
                        </a:lnTo>
                        <a:lnTo>
                          <a:pt x="354" y="685"/>
                        </a:lnTo>
                        <a:lnTo>
                          <a:pt x="368" y="675"/>
                        </a:lnTo>
                        <a:lnTo>
                          <a:pt x="379" y="660"/>
                        </a:lnTo>
                        <a:lnTo>
                          <a:pt x="389" y="641"/>
                        </a:lnTo>
                        <a:lnTo>
                          <a:pt x="394" y="620"/>
                        </a:lnTo>
                        <a:lnTo>
                          <a:pt x="398" y="575"/>
                        </a:lnTo>
                        <a:lnTo>
                          <a:pt x="402" y="560"/>
                        </a:lnTo>
                        <a:lnTo>
                          <a:pt x="408" y="550"/>
                        </a:lnTo>
                        <a:lnTo>
                          <a:pt x="415" y="543"/>
                        </a:lnTo>
                        <a:lnTo>
                          <a:pt x="470" y="538"/>
                        </a:lnTo>
                        <a:lnTo>
                          <a:pt x="479" y="533"/>
                        </a:lnTo>
                        <a:lnTo>
                          <a:pt x="492" y="516"/>
                        </a:lnTo>
                        <a:lnTo>
                          <a:pt x="498" y="491"/>
                        </a:lnTo>
                        <a:lnTo>
                          <a:pt x="507" y="513"/>
                        </a:lnTo>
                        <a:lnTo>
                          <a:pt x="570" y="531"/>
                        </a:lnTo>
                        <a:lnTo>
                          <a:pt x="597" y="546"/>
                        </a:lnTo>
                        <a:lnTo>
                          <a:pt x="668" y="600"/>
                        </a:lnTo>
                        <a:lnTo>
                          <a:pt x="735" y="615"/>
                        </a:lnTo>
                        <a:lnTo>
                          <a:pt x="775" y="616"/>
                        </a:lnTo>
                        <a:lnTo>
                          <a:pt x="805" y="608"/>
                        </a:lnTo>
                        <a:lnTo>
                          <a:pt x="824" y="587"/>
                        </a:lnTo>
                        <a:lnTo>
                          <a:pt x="842" y="553"/>
                        </a:lnTo>
                        <a:lnTo>
                          <a:pt x="870" y="476"/>
                        </a:lnTo>
                        <a:lnTo>
                          <a:pt x="909" y="477"/>
                        </a:lnTo>
                        <a:lnTo>
                          <a:pt x="977" y="458"/>
                        </a:lnTo>
                        <a:lnTo>
                          <a:pt x="1187" y="473"/>
                        </a:lnTo>
                        <a:lnTo>
                          <a:pt x="1190" y="448"/>
                        </a:lnTo>
                        <a:lnTo>
                          <a:pt x="1189" y="347"/>
                        </a:lnTo>
                        <a:lnTo>
                          <a:pt x="1185" y="327"/>
                        </a:lnTo>
                        <a:lnTo>
                          <a:pt x="1187" y="311"/>
                        </a:lnTo>
                        <a:lnTo>
                          <a:pt x="1192" y="301"/>
                        </a:lnTo>
                        <a:lnTo>
                          <a:pt x="1210" y="281"/>
                        </a:lnTo>
                        <a:lnTo>
                          <a:pt x="1215" y="266"/>
                        </a:lnTo>
                        <a:lnTo>
                          <a:pt x="1214" y="181"/>
                        </a:lnTo>
                        <a:lnTo>
                          <a:pt x="1185" y="140"/>
                        </a:lnTo>
                        <a:lnTo>
                          <a:pt x="1155" y="116"/>
                        </a:lnTo>
                        <a:lnTo>
                          <a:pt x="1148" y="82"/>
                        </a:lnTo>
                        <a:lnTo>
                          <a:pt x="1167" y="65"/>
                        </a:lnTo>
                        <a:lnTo>
                          <a:pt x="1187" y="57"/>
                        </a:lnTo>
                        <a:lnTo>
                          <a:pt x="1214" y="38"/>
                        </a:lnTo>
                        <a:lnTo>
                          <a:pt x="1223" y="25"/>
                        </a:lnTo>
                        <a:lnTo>
                          <a:pt x="1228" y="0"/>
                        </a:lnTo>
                        <a:lnTo>
                          <a:pt x="1263" y="32"/>
                        </a:lnTo>
                        <a:lnTo>
                          <a:pt x="1355" y="53"/>
                        </a:lnTo>
                        <a:lnTo>
                          <a:pt x="1372" y="82"/>
                        </a:lnTo>
                        <a:lnTo>
                          <a:pt x="1393" y="103"/>
                        </a:lnTo>
                        <a:lnTo>
                          <a:pt x="1419" y="116"/>
                        </a:lnTo>
                        <a:lnTo>
                          <a:pt x="1440" y="112"/>
                        </a:lnTo>
                        <a:lnTo>
                          <a:pt x="1447" y="82"/>
                        </a:lnTo>
                        <a:lnTo>
                          <a:pt x="1463" y="43"/>
                        </a:lnTo>
                        <a:lnTo>
                          <a:pt x="1487" y="27"/>
                        </a:lnTo>
                        <a:lnTo>
                          <a:pt x="1508" y="38"/>
                        </a:lnTo>
                        <a:lnTo>
                          <a:pt x="1517" y="82"/>
                        </a:lnTo>
                        <a:lnTo>
                          <a:pt x="1534" y="126"/>
                        </a:lnTo>
                        <a:lnTo>
                          <a:pt x="1639" y="127"/>
                        </a:lnTo>
                        <a:lnTo>
                          <a:pt x="1688" y="152"/>
                        </a:lnTo>
                        <a:lnTo>
                          <a:pt x="1718" y="200"/>
                        </a:lnTo>
                        <a:lnTo>
                          <a:pt x="1715" y="228"/>
                        </a:lnTo>
                        <a:lnTo>
                          <a:pt x="1700" y="258"/>
                        </a:lnTo>
                        <a:lnTo>
                          <a:pt x="1687" y="312"/>
                        </a:lnTo>
                        <a:lnTo>
                          <a:pt x="1693" y="355"/>
                        </a:lnTo>
                        <a:lnTo>
                          <a:pt x="1709" y="406"/>
                        </a:lnTo>
                        <a:lnTo>
                          <a:pt x="1732" y="455"/>
                        </a:lnTo>
                        <a:lnTo>
                          <a:pt x="1752" y="486"/>
                        </a:lnTo>
                        <a:lnTo>
                          <a:pt x="1788" y="516"/>
                        </a:lnTo>
                        <a:lnTo>
                          <a:pt x="1822" y="530"/>
                        </a:lnTo>
                        <a:lnTo>
                          <a:pt x="1849" y="553"/>
                        </a:lnTo>
                        <a:lnTo>
                          <a:pt x="1872" y="608"/>
                        </a:lnTo>
                        <a:lnTo>
                          <a:pt x="1872" y="637"/>
                        </a:lnTo>
                        <a:lnTo>
                          <a:pt x="1867" y="666"/>
                        </a:lnTo>
                        <a:lnTo>
                          <a:pt x="1865" y="693"/>
                        </a:lnTo>
                        <a:lnTo>
                          <a:pt x="1877" y="718"/>
                        </a:lnTo>
                        <a:lnTo>
                          <a:pt x="1903" y="726"/>
                        </a:lnTo>
                        <a:lnTo>
                          <a:pt x="1924" y="705"/>
                        </a:lnTo>
                        <a:lnTo>
                          <a:pt x="1942" y="673"/>
                        </a:lnTo>
                        <a:lnTo>
                          <a:pt x="1958" y="652"/>
                        </a:lnTo>
                        <a:lnTo>
                          <a:pt x="2035" y="646"/>
                        </a:lnTo>
                        <a:lnTo>
                          <a:pt x="2183" y="697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84406" tIns="42203" rIns="84406" bIns="42203" numCol="1" anchor="t" anchorCtr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</p:grpSp>
            <p:grpSp>
              <p:nvGrpSpPr>
                <p:cNvPr id="238" name="GradientColorLegend">
                  <a:extLst>
                    <a:ext uri="{FF2B5EF4-FFF2-40B4-BE49-F238E27FC236}">
                      <a16:creationId xmlns:a16="http://schemas.microsoft.com/office/drawing/2014/main" id="{4718330A-EBF0-24DF-FF53-ABF7554FCFF4}"/>
                    </a:ext>
                  </a:extLst>
                </p:cNvPr>
                <p:cNvGrpSpPr/>
                <p:nvPr/>
              </p:nvGrpSpPr>
              <p:grpSpPr>
                <a:xfrm>
                  <a:off x="9566582" y="1664041"/>
                  <a:ext cx="120073" cy="1682234"/>
                  <a:chOff x="1066170" y="2422781"/>
                  <a:chExt cx="120073" cy="1682234"/>
                </a:xfrm>
              </p:grpSpPr>
              <p:sp>
                <p:nvSpPr>
                  <p:cNvPr id="260" name="Etiquette - GradientColorLegend - DARK - Shape" hidden="1">
                    <a:extLst>
                      <a:ext uri="{FF2B5EF4-FFF2-40B4-BE49-F238E27FC236}">
                        <a16:creationId xmlns:a16="http://schemas.microsoft.com/office/drawing/2014/main" id="{6570DA27-24AA-27C5-DC91-3D72C9F99FD6}"/>
                      </a:ext>
                    </a:extLst>
                  </p:cNvPr>
                  <p:cNvSpPr/>
                  <p:nvPr/>
                </p:nvSpPr>
                <p:spPr>
                  <a:xfrm>
                    <a:off x="1066170" y="2575168"/>
                    <a:ext cx="120073" cy="138240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9D9D9"/>
                      </a:gs>
                      <a:gs pos="100000">
                        <a:srgbClr val="D9D9D9"/>
                      </a:gs>
                    </a:gsLst>
                    <a:lin ang="5400000" scaled="1"/>
                    <a:tileRect/>
                  </a:gradFill>
                  <a:ln w="12700" cap="flat" cmpd="sng" algn="ctr">
                    <a:solidFill>
                      <a:srgbClr val="00A3E0">
                        <a:lumMod val="60000"/>
                        <a:lumOff val="40000"/>
                      </a:srgbClr>
                    </a:solidFill>
                    <a:prstDash val="solid"/>
                  </a:ln>
                  <a:effectLst/>
                </p:spPr>
                <p:txBody>
                  <a:bodyPr rtlCol="0" anchor="ctr">
                    <a:norm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white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1" name="Etiquette - GradientColorLegend - DARK - MaxValue" hidden="1">
                    <a:extLst>
                      <a:ext uri="{FF2B5EF4-FFF2-40B4-BE49-F238E27FC236}">
                        <a16:creationId xmlns:a16="http://schemas.microsoft.com/office/drawing/2014/main" id="{A43918D0-B29E-899A-8B71-13421C55269F}"/>
                      </a:ext>
                    </a:extLst>
                  </p:cNvPr>
                  <p:cNvSpPr txBox="1"/>
                  <p:nvPr/>
                </p:nvSpPr>
                <p:spPr>
                  <a:xfrm>
                    <a:off x="1087792" y="2422781"/>
                    <a:ext cx="76830" cy="144832"/>
                  </a:xfrm>
                  <a:prstGeom prst="rect">
                    <a:avLst/>
                  </a:prstGeom>
                  <a:noFill/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0" tIns="0" rIns="0" bIns="0" rtlCol="0" anchor="b">
                    <a:noAutofit/>
                  </a:bodyPr>
                  <a:lstStyle/>
                  <a:p>
                    <a:pPr algn="ctr"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1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62" name="Etiquette - GradientColorLegend - DARK - MinValue" hidden="1">
                    <a:extLst>
                      <a:ext uri="{FF2B5EF4-FFF2-40B4-BE49-F238E27FC236}">
                        <a16:creationId xmlns:a16="http://schemas.microsoft.com/office/drawing/2014/main" id="{7E3CE678-5B84-D2B9-32E2-C3FC20AC4AC5}"/>
                      </a:ext>
                    </a:extLst>
                  </p:cNvPr>
                  <p:cNvSpPr txBox="1"/>
                  <p:nvPr/>
                </p:nvSpPr>
                <p:spPr>
                  <a:xfrm>
                    <a:off x="1087792" y="3960183"/>
                    <a:ext cx="76830" cy="144832"/>
                  </a:xfrm>
                  <a:prstGeom prst="rect">
                    <a:avLst/>
                  </a:prstGeom>
                  <a:noFill/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0" tIns="0" rIns="0" bIns="0" rtlCol="0">
                    <a:noAutofit/>
                  </a:bodyPr>
                  <a:lstStyle/>
                  <a:p>
                    <a:pPr algn="ctr"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1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</p:grpSp>
            <p:grpSp>
              <p:nvGrpSpPr>
                <p:cNvPr id="239" name="RangeColorLegend">
                  <a:extLst>
                    <a:ext uri="{FF2B5EF4-FFF2-40B4-BE49-F238E27FC236}">
                      <a16:creationId xmlns:a16="http://schemas.microsoft.com/office/drawing/2014/main" id="{7DA5EB3B-91B7-519A-B046-0235668D2F9C}"/>
                    </a:ext>
                  </a:extLst>
                </p:cNvPr>
                <p:cNvGrpSpPr/>
                <p:nvPr/>
              </p:nvGrpSpPr>
              <p:grpSpPr>
                <a:xfrm>
                  <a:off x="9334185" y="2092880"/>
                  <a:ext cx="1270800" cy="1538880"/>
                  <a:chOff x="9501076" y="4903720"/>
                  <a:chExt cx="1270800" cy="1538880"/>
                </a:xfrm>
              </p:grpSpPr>
              <p:sp>
                <p:nvSpPr>
                  <p:cNvPr id="240" name="Etiquette - RangeColorLegend - DARK - Color - 2" hidden="1">
                    <a:extLst>
                      <a:ext uri="{FF2B5EF4-FFF2-40B4-BE49-F238E27FC236}">
                        <a16:creationId xmlns:a16="http://schemas.microsoft.com/office/drawing/2014/main" id="{51CEC38E-6390-BE90-94DD-86E8B9E225F2}"/>
                      </a:ext>
                    </a:extLst>
                  </p:cNvPr>
                  <p:cNvSpPr/>
                  <p:nvPr/>
                </p:nvSpPr>
                <p:spPr>
                  <a:xfrm>
                    <a:off x="9501076" y="5057608"/>
                    <a:ext cx="154800" cy="153888"/>
                  </a:xfrm>
                  <a:prstGeom prst="rect">
                    <a:avLst/>
                  </a:prstGeom>
                  <a:solidFill>
                    <a:srgbClr val="43B02A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1" name="Etiquette - RangeColorLegend - DARK - Color - 1" hidden="1">
                    <a:extLst>
                      <a:ext uri="{FF2B5EF4-FFF2-40B4-BE49-F238E27FC236}">
                        <a16:creationId xmlns:a16="http://schemas.microsoft.com/office/drawing/2014/main" id="{270BC57A-1DF9-4BE3-FC2E-CDEF62C51214}"/>
                      </a:ext>
                    </a:extLst>
                  </p:cNvPr>
                  <p:cNvSpPr/>
                  <p:nvPr/>
                </p:nvSpPr>
                <p:spPr>
                  <a:xfrm>
                    <a:off x="9501076" y="4903720"/>
                    <a:ext cx="154800" cy="153888"/>
                  </a:xfrm>
                  <a:prstGeom prst="rect">
                    <a:avLst/>
                  </a:prstGeom>
                  <a:solidFill>
                    <a:srgbClr val="86BC25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2" name="Etiquette - RangeColorLegend - DARK - Number - 2" hidden="1">
                    <a:extLst>
                      <a:ext uri="{FF2B5EF4-FFF2-40B4-BE49-F238E27FC236}">
                        <a16:creationId xmlns:a16="http://schemas.microsoft.com/office/drawing/2014/main" id="{F147FF16-0EE3-AD3D-7961-7DA895AD9E4D}"/>
                      </a:ext>
                    </a:extLst>
                  </p:cNvPr>
                  <p:cNvSpPr/>
                  <p:nvPr/>
                </p:nvSpPr>
                <p:spPr>
                  <a:xfrm>
                    <a:off x="9655876" y="5057608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&lt; 1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3" name="Etiquette - RangeColorLegend - DARK - Number - 1" hidden="1">
                    <a:extLst>
                      <a:ext uri="{FF2B5EF4-FFF2-40B4-BE49-F238E27FC236}">
                        <a16:creationId xmlns:a16="http://schemas.microsoft.com/office/drawing/2014/main" id="{D882FC99-CC2A-6632-374B-8CB4A4B307CB}"/>
                      </a:ext>
                    </a:extLst>
                  </p:cNvPr>
                  <p:cNvSpPr/>
                  <p:nvPr/>
                </p:nvSpPr>
                <p:spPr>
                  <a:xfrm>
                    <a:off x="9655876" y="4903720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1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4" name="Etiquette - RangeColorLegend - DARK - Color - 4" hidden="1">
                    <a:extLst>
                      <a:ext uri="{FF2B5EF4-FFF2-40B4-BE49-F238E27FC236}">
                        <a16:creationId xmlns:a16="http://schemas.microsoft.com/office/drawing/2014/main" id="{0311058C-7836-D01A-BAF7-6EFAB7E9FBB8}"/>
                      </a:ext>
                    </a:extLst>
                  </p:cNvPr>
                  <p:cNvSpPr/>
                  <p:nvPr/>
                </p:nvSpPr>
                <p:spPr>
                  <a:xfrm>
                    <a:off x="9501076" y="5365384"/>
                    <a:ext cx="154800" cy="153888"/>
                  </a:xfrm>
                  <a:prstGeom prst="rect">
                    <a:avLst/>
                  </a:prstGeom>
                  <a:solidFill>
                    <a:srgbClr val="FFC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5" name="Etiquette - RangeColorLegend - DARK - Color - 3" hidden="1">
                    <a:extLst>
                      <a:ext uri="{FF2B5EF4-FFF2-40B4-BE49-F238E27FC236}">
                        <a16:creationId xmlns:a16="http://schemas.microsoft.com/office/drawing/2014/main" id="{5B8DA69F-BF2F-2419-925D-875C599AE9F6}"/>
                      </a:ext>
                    </a:extLst>
                  </p:cNvPr>
                  <p:cNvSpPr/>
                  <p:nvPr/>
                </p:nvSpPr>
                <p:spPr>
                  <a:xfrm>
                    <a:off x="9501076" y="5211496"/>
                    <a:ext cx="154800" cy="153888"/>
                  </a:xfrm>
                  <a:prstGeom prst="rect">
                    <a:avLst/>
                  </a:prstGeom>
                  <a:solidFill>
                    <a:srgbClr val="FFFF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6" name="Etiquette - RangeColorLegend - DARK - Number - 4" hidden="1">
                    <a:extLst>
                      <a:ext uri="{FF2B5EF4-FFF2-40B4-BE49-F238E27FC236}">
                        <a16:creationId xmlns:a16="http://schemas.microsoft.com/office/drawing/2014/main" id="{D12CB130-C49D-DD21-93D1-2EA9018C79A1}"/>
                      </a:ext>
                    </a:extLst>
                  </p:cNvPr>
                  <p:cNvSpPr/>
                  <p:nvPr/>
                </p:nvSpPr>
                <p:spPr>
                  <a:xfrm>
                    <a:off x="9655876" y="5365384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[300 to 400[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7" name="Etiquette - RangeColorLegend - DARK - Number - 3" hidden="1">
                    <a:extLst>
                      <a:ext uri="{FF2B5EF4-FFF2-40B4-BE49-F238E27FC236}">
                        <a16:creationId xmlns:a16="http://schemas.microsoft.com/office/drawing/2014/main" id="{525135A0-DB86-F142-4851-8EC46CF9274B}"/>
                      </a:ext>
                    </a:extLst>
                  </p:cNvPr>
                  <p:cNvSpPr/>
                  <p:nvPr/>
                </p:nvSpPr>
                <p:spPr>
                  <a:xfrm>
                    <a:off x="9655876" y="5211496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[200 to 300[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8" name="Etiquette - RangeColorLegend - DARK - Color - 5" hidden="1">
                    <a:extLst>
                      <a:ext uri="{FF2B5EF4-FFF2-40B4-BE49-F238E27FC236}">
                        <a16:creationId xmlns:a16="http://schemas.microsoft.com/office/drawing/2014/main" id="{B4CBF96E-099D-CC16-75DB-DCA149D1B219}"/>
                      </a:ext>
                    </a:extLst>
                  </p:cNvPr>
                  <p:cNvSpPr/>
                  <p:nvPr/>
                </p:nvSpPr>
                <p:spPr>
                  <a:xfrm>
                    <a:off x="9501076" y="5519272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49" name="Etiquette - RangeColorLegend - DARK - Number - 5" hidden="1">
                    <a:extLst>
                      <a:ext uri="{FF2B5EF4-FFF2-40B4-BE49-F238E27FC236}">
                        <a16:creationId xmlns:a16="http://schemas.microsoft.com/office/drawing/2014/main" id="{F9A5C3AF-EC25-6460-9E50-F83A842A2CC2}"/>
                      </a:ext>
                    </a:extLst>
                  </p:cNvPr>
                  <p:cNvSpPr/>
                  <p:nvPr/>
                </p:nvSpPr>
                <p:spPr>
                  <a:xfrm>
                    <a:off x="9655876" y="5519272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400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0" name="Etiquette - RangeColorLegend - DARK - Color - 6" hidden="1">
                    <a:extLst>
                      <a:ext uri="{FF2B5EF4-FFF2-40B4-BE49-F238E27FC236}">
                        <a16:creationId xmlns:a16="http://schemas.microsoft.com/office/drawing/2014/main" id="{66F9E3BA-BAC7-F1AE-CCD7-BE694DAF211E}"/>
                      </a:ext>
                    </a:extLst>
                  </p:cNvPr>
                  <p:cNvSpPr/>
                  <p:nvPr/>
                </p:nvSpPr>
                <p:spPr>
                  <a:xfrm>
                    <a:off x="9501076" y="5673160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1" name="Etiquette - RangeColorLegend - DARK - Number - 6" hidden="1">
                    <a:extLst>
                      <a:ext uri="{FF2B5EF4-FFF2-40B4-BE49-F238E27FC236}">
                        <a16:creationId xmlns:a16="http://schemas.microsoft.com/office/drawing/2014/main" id="{F1E01C0F-A4D1-E60D-CCA7-02AD50299C10}"/>
                      </a:ext>
                    </a:extLst>
                  </p:cNvPr>
                  <p:cNvSpPr/>
                  <p:nvPr/>
                </p:nvSpPr>
                <p:spPr>
                  <a:xfrm>
                    <a:off x="9655876" y="5673160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400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2" name="Etiquette - RangeColorLegend - DARK - Color - 7" hidden="1">
                    <a:extLst>
                      <a:ext uri="{FF2B5EF4-FFF2-40B4-BE49-F238E27FC236}">
                        <a16:creationId xmlns:a16="http://schemas.microsoft.com/office/drawing/2014/main" id="{230A0CDF-B113-9A76-FFE4-C1C2AD262158}"/>
                      </a:ext>
                    </a:extLst>
                  </p:cNvPr>
                  <p:cNvSpPr/>
                  <p:nvPr/>
                </p:nvSpPr>
                <p:spPr>
                  <a:xfrm>
                    <a:off x="9501076" y="5827048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3" name="Etiquette - RangeColorLegend - DARK - Number - 7" hidden="1">
                    <a:extLst>
                      <a:ext uri="{FF2B5EF4-FFF2-40B4-BE49-F238E27FC236}">
                        <a16:creationId xmlns:a16="http://schemas.microsoft.com/office/drawing/2014/main" id="{0D02682C-C5B6-DD41-C7A2-0581A8E83AEB}"/>
                      </a:ext>
                    </a:extLst>
                  </p:cNvPr>
                  <p:cNvSpPr/>
                  <p:nvPr/>
                </p:nvSpPr>
                <p:spPr>
                  <a:xfrm>
                    <a:off x="9655876" y="5827048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400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4" name="Etiquette - RangeColorLegend - DARK - Color - 8" hidden="1">
                    <a:extLst>
                      <a:ext uri="{FF2B5EF4-FFF2-40B4-BE49-F238E27FC236}">
                        <a16:creationId xmlns:a16="http://schemas.microsoft.com/office/drawing/2014/main" id="{705853EE-ACED-9306-FFB1-8F3BF119FAF9}"/>
                      </a:ext>
                    </a:extLst>
                  </p:cNvPr>
                  <p:cNvSpPr/>
                  <p:nvPr/>
                </p:nvSpPr>
                <p:spPr>
                  <a:xfrm>
                    <a:off x="9501076" y="5980936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5" name="Etiquette - RangeColorLegend - DARK - Number - 8" hidden="1">
                    <a:extLst>
                      <a:ext uri="{FF2B5EF4-FFF2-40B4-BE49-F238E27FC236}">
                        <a16:creationId xmlns:a16="http://schemas.microsoft.com/office/drawing/2014/main" id="{0A8A79B4-5EFB-A97F-E2CF-60DDB9BDBBBF}"/>
                      </a:ext>
                    </a:extLst>
                  </p:cNvPr>
                  <p:cNvSpPr/>
                  <p:nvPr/>
                </p:nvSpPr>
                <p:spPr>
                  <a:xfrm>
                    <a:off x="9655876" y="5980936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400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6" name="Etiquette - RangeColorLegend - DARK - Color - 9" hidden="1">
                    <a:extLst>
                      <a:ext uri="{FF2B5EF4-FFF2-40B4-BE49-F238E27FC236}">
                        <a16:creationId xmlns:a16="http://schemas.microsoft.com/office/drawing/2014/main" id="{84DF04A6-039A-DFC5-D4B4-41D9BC19325A}"/>
                      </a:ext>
                    </a:extLst>
                  </p:cNvPr>
                  <p:cNvSpPr/>
                  <p:nvPr/>
                </p:nvSpPr>
                <p:spPr>
                  <a:xfrm>
                    <a:off x="9501076" y="6134824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7" name="Etiquette - RangeColorLegend - DARK - Number - 9" hidden="1">
                    <a:extLst>
                      <a:ext uri="{FF2B5EF4-FFF2-40B4-BE49-F238E27FC236}">
                        <a16:creationId xmlns:a16="http://schemas.microsoft.com/office/drawing/2014/main" id="{8BABE9AA-7FCC-5658-10BB-1564D890AAA0}"/>
                      </a:ext>
                    </a:extLst>
                  </p:cNvPr>
                  <p:cNvSpPr/>
                  <p:nvPr/>
                </p:nvSpPr>
                <p:spPr>
                  <a:xfrm>
                    <a:off x="9655876" y="6134824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400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8" name="Etiquette - RangeColorLegend - DARK - Color - 10" hidden="1">
                    <a:extLst>
                      <a:ext uri="{FF2B5EF4-FFF2-40B4-BE49-F238E27FC236}">
                        <a16:creationId xmlns:a16="http://schemas.microsoft.com/office/drawing/2014/main" id="{17CAFB2C-74E3-2F6C-FBE2-49FC0A3FEF6F}"/>
                      </a:ext>
                    </a:extLst>
                  </p:cNvPr>
                  <p:cNvSpPr/>
                  <p:nvPr/>
                </p:nvSpPr>
                <p:spPr>
                  <a:xfrm>
                    <a:off x="9501076" y="6288712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 defTabSz="844083">
                      <a:defRPr/>
                    </a:pP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  <p:sp>
                <p:nvSpPr>
                  <p:cNvPr id="259" name="Etiquette - RangeColorLegend - DARK - Number - 10" hidden="1">
                    <a:extLst>
                      <a:ext uri="{FF2B5EF4-FFF2-40B4-BE49-F238E27FC236}">
                        <a16:creationId xmlns:a16="http://schemas.microsoft.com/office/drawing/2014/main" id="{48EBD1C3-0AC2-426C-63C5-9181B0F37084}"/>
                      </a:ext>
                    </a:extLst>
                  </p:cNvPr>
                  <p:cNvSpPr/>
                  <p:nvPr/>
                </p:nvSpPr>
                <p:spPr>
                  <a:xfrm>
                    <a:off x="9655876" y="6288712"/>
                    <a:ext cx="1116000" cy="153888"/>
                  </a:xfrm>
                  <a:prstGeom prst="rect">
                    <a:avLst/>
                  </a:prstGeom>
                  <a:ln w="12700">
                    <a:solidFill>
                      <a:srgbClr val="00A3E0">
                        <a:lumMod val="60000"/>
                        <a:lumOff val="40000"/>
                      </a:srgbClr>
                    </a:solidFill>
                  </a:ln>
                </p:spPr>
                <p:txBody>
                  <a:bodyPr wrap="none" lIns="66462" tIns="0" rIns="0" bIns="0" anchor="ctr">
                    <a:noAutofit/>
                  </a:bodyPr>
                  <a:lstStyle/>
                  <a:p>
                    <a:pPr defTabSz="844083">
                      <a:defRPr/>
                    </a:pPr>
                    <a:r>
                      <a:rPr lang="en-US" sz="1400" kern="0">
                        <a:solidFill>
                          <a:prstClr val="black"/>
                        </a:solidFill>
                        <a:latin typeface="Verdana"/>
                      </a:rPr>
                      <a:t>400+</a:t>
                    </a:r>
                    <a:endParaRPr lang="en-US" sz="1400" kern="0" dirty="0">
                      <a:solidFill>
                        <a:prstClr val="black"/>
                      </a:solidFill>
                      <a:latin typeface="Verdana"/>
                    </a:endParaRPr>
                  </a:p>
                </p:txBody>
              </p:sp>
            </p:grpSp>
          </p:grpSp>
          <p:sp>
            <p:nvSpPr>
              <p:cNvPr id="236" name="POWER_USER_DATA_MAP_STORAGE">
                <a:extLst>
                  <a:ext uri="{FF2B5EF4-FFF2-40B4-BE49-F238E27FC236}">
                    <a16:creationId xmlns:a16="http://schemas.microsoft.com/office/drawing/2014/main" id="{84E70AD6-6C6A-7657-489B-D4FBDA367DE5}"/>
                  </a:ext>
                </a:extLst>
              </p:cNvPr>
              <p:cNvSpPr/>
              <p:nvPr/>
            </p:nvSpPr>
            <p:spPr bwMode="gray">
              <a:xfrm>
                <a:off x="1724576" y="1576792"/>
                <a:ext cx="0" cy="0"/>
              </a:xfrm>
              <a:prstGeom prst="rect">
                <a:avLst/>
              </a:prstGeom>
              <a:solidFill>
                <a:srgbClr val="00A3E0"/>
              </a:solidFill>
              <a:ln w="12700" algn="ctr">
                <a:solidFill>
                  <a:srgbClr val="00A3E0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</p:spPr>
            <p:txBody>
              <a:bodyPr wrap="square" lIns="82062" tIns="82062" rIns="82062" bIns="82062" rtlCol="0" anchor="ctr" anchorCtr="0">
                <a:noAutofit/>
              </a:bodyPr>
              <a:lstStyle/>
              <a:p>
                <a:pPr algn="ctr" defTabSz="844083">
                  <a:lnSpc>
                    <a:spcPct val="106000"/>
                  </a:lnSpc>
                  <a:defRPr/>
                </a:pPr>
                <a:endParaRPr lang="cs-CZ" sz="1400" kern="0" dirty="0">
                  <a:solidFill>
                    <a:prstClr val="white"/>
                  </a:solidFill>
                  <a:latin typeface="Verdana"/>
                </a:endParaRPr>
              </a:p>
            </p:txBody>
          </p:sp>
        </p:grp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DD79E07-7DF9-48D5-B865-3FBF3EB42031}"/>
                </a:ext>
              </a:extLst>
            </p:cNvPr>
            <p:cNvSpPr/>
            <p:nvPr/>
          </p:nvSpPr>
          <p:spPr bwMode="gray">
            <a:xfrm>
              <a:off x="8320230" y="5122187"/>
              <a:ext cx="1430883" cy="686631"/>
            </a:xfrm>
            <a:custGeom>
              <a:avLst/>
              <a:gdLst>
                <a:gd name="connsiteX0" fmla="*/ 0 w 1892300"/>
                <a:gd name="connsiteY0" fmla="*/ 0 h 908050"/>
                <a:gd name="connsiteX1" fmla="*/ 31750 w 1892300"/>
                <a:gd name="connsiteY1" fmla="*/ 12700 h 908050"/>
                <a:gd name="connsiteX2" fmla="*/ 95250 w 1892300"/>
                <a:gd name="connsiteY2" fmla="*/ 6350 h 908050"/>
                <a:gd name="connsiteX3" fmla="*/ 107950 w 1892300"/>
                <a:gd name="connsiteY3" fmla="*/ 44450 h 908050"/>
                <a:gd name="connsiteX4" fmla="*/ 158750 w 1892300"/>
                <a:gd name="connsiteY4" fmla="*/ 63500 h 908050"/>
                <a:gd name="connsiteX5" fmla="*/ 177800 w 1892300"/>
                <a:gd name="connsiteY5" fmla="*/ 82550 h 908050"/>
                <a:gd name="connsiteX6" fmla="*/ 190500 w 1892300"/>
                <a:gd name="connsiteY6" fmla="*/ 107950 h 908050"/>
                <a:gd name="connsiteX7" fmla="*/ 228600 w 1892300"/>
                <a:gd name="connsiteY7" fmla="*/ 152400 h 908050"/>
                <a:gd name="connsiteX8" fmla="*/ 266700 w 1892300"/>
                <a:gd name="connsiteY8" fmla="*/ 171450 h 908050"/>
                <a:gd name="connsiteX9" fmla="*/ 438150 w 1892300"/>
                <a:gd name="connsiteY9" fmla="*/ 215900 h 908050"/>
                <a:gd name="connsiteX10" fmla="*/ 450850 w 1892300"/>
                <a:gd name="connsiteY10" fmla="*/ 234950 h 908050"/>
                <a:gd name="connsiteX11" fmla="*/ 488950 w 1892300"/>
                <a:gd name="connsiteY11" fmla="*/ 266700 h 908050"/>
                <a:gd name="connsiteX12" fmla="*/ 514350 w 1892300"/>
                <a:gd name="connsiteY12" fmla="*/ 279400 h 908050"/>
                <a:gd name="connsiteX13" fmla="*/ 584200 w 1892300"/>
                <a:gd name="connsiteY13" fmla="*/ 304800 h 908050"/>
                <a:gd name="connsiteX14" fmla="*/ 603250 w 1892300"/>
                <a:gd name="connsiteY14" fmla="*/ 342900 h 908050"/>
                <a:gd name="connsiteX15" fmla="*/ 660400 w 1892300"/>
                <a:gd name="connsiteY15" fmla="*/ 374650 h 908050"/>
                <a:gd name="connsiteX16" fmla="*/ 812800 w 1892300"/>
                <a:gd name="connsiteY16" fmla="*/ 393700 h 908050"/>
                <a:gd name="connsiteX17" fmla="*/ 882650 w 1892300"/>
                <a:gd name="connsiteY17" fmla="*/ 406400 h 908050"/>
                <a:gd name="connsiteX18" fmla="*/ 914400 w 1892300"/>
                <a:gd name="connsiteY18" fmla="*/ 431800 h 908050"/>
                <a:gd name="connsiteX19" fmla="*/ 996950 w 1892300"/>
                <a:gd name="connsiteY19" fmla="*/ 444500 h 908050"/>
                <a:gd name="connsiteX20" fmla="*/ 1022350 w 1892300"/>
                <a:gd name="connsiteY20" fmla="*/ 457200 h 908050"/>
                <a:gd name="connsiteX21" fmla="*/ 1054100 w 1892300"/>
                <a:gd name="connsiteY21" fmla="*/ 469900 h 908050"/>
                <a:gd name="connsiteX22" fmla="*/ 1079500 w 1892300"/>
                <a:gd name="connsiteY22" fmla="*/ 488950 h 908050"/>
                <a:gd name="connsiteX23" fmla="*/ 1123950 w 1892300"/>
                <a:gd name="connsiteY23" fmla="*/ 508000 h 908050"/>
                <a:gd name="connsiteX24" fmla="*/ 1168400 w 1892300"/>
                <a:gd name="connsiteY24" fmla="*/ 539750 h 908050"/>
                <a:gd name="connsiteX25" fmla="*/ 1193800 w 1892300"/>
                <a:gd name="connsiteY25" fmla="*/ 552450 h 908050"/>
                <a:gd name="connsiteX26" fmla="*/ 1238250 w 1892300"/>
                <a:gd name="connsiteY26" fmla="*/ 577850 h 908050"/>
                <a:gd name="connsiteX27" fmla="*/ 1250950 w 1892300"/>
                <a:gd name="connsiteY27" fmla="*/ 596900 h 908050"/>
                <a:gd name="connsiteX28" fmla="*/ 1270000 w 1892300"/>
                <a:gd name="connsiteY28" fmla="*/ 635000 h 908050"/>
                <a:gd name="connsiteX29" fmla="*/ 1384300 w 1892300"/>
                <a:gd name="connsiteY29" fmla="*/ 660400 h 908050"/>
                <a:gd name="connsiteX30" fmla="*/ 1403350 w 1892300"/>
                <a:gd name="connsiteY30" fmla="*/ 673100 h 908050"/>
                <a:gd name="connsiteX31" fmla="*/ 1511300 w 1892300"/>
                <a:gd name="connsiteY31" fmla="*/ 698500 h 908050"/>
                <a:gd name="connsiteX32" fmla="*/ 1536700 w 1892300"/>
                <a:gd name="connsiteY32" fmla="*/ 723900 h 908050"/>
                <a:gd name="connsiteX33" fmla="*/ 1555750 w 1892300"/>
                <a:gd name="connsiteY33" fmla="*/ 736600 h 908050"/>
                <a:gd name="connsiteX34" fmla="*/ 1562100 w 1892300"/>
                <a:gd name="connsiteY34" fmla="*/ 755650 h 908050"/>
                <a:gd name="connsiteX35" fmla="*/ 1638300 w 1892300"/>
                <a:gd name="connsiteY35" fmla="*/ 819150 h 908050"/>
                <a:gd name="connsiteX36" fmla="*/ 1676400 w 1892300"/>
                <a:gd name="connsiteY36" fmla="*/ 838200 h 908050"/>
                <a:gd name="connsiteX37" fmla="*/ 1720850 w 1892300"/>
                <a:gd name="connsiteY37" fmla="*/ 876300 h 908050"/>
                <a:gd name="connsiteX38" fmla="*/ 1866900 w 1892300"/>
                <a:gd name="connsiteY38" fmla="*/ 895350 h 908050"/>
                <a:gd name="connsiteX39" fmla="*/ 1892300 w 1892300"/>
                <a:gd name="connsiteY39" fmla="*/ 908050 h 90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92300" h="908050">
                  <a:moveTo>
                    <a:pt x="0" y="0"/>
                  </a:moveTo>
                  <a:cubicBezTo>
                    <a:pt x="10583" y="4233"/>
                    <a:pt x="20377" y="11942"/>
                    <a:pt x="31750" y="12700"/>
                  </a:cubicBezTo>
                  <a:cubicBezTo>
                    <a:pt x="52975" y="14115"/>
                    <a:pt x="75614" y="-1832"/>
                    <a:pt x="95250" y="6350"/>
                  </a:cubicBezTo>
                  <a:cubicBezTo>
                    <a:pt x="107607" y="11499"/>
                    <a:pt x="103717" y="31750"/>
                    <a:pt x="107950" y="44450"/>
                  </a:cubicBezTo>
                  <a:cubicBezTo>
                    <a:pt x="113669" y="61607"/>
                    <a:pt x="141817" y="57150"/>
                    <a:pt x="158750" y="63500"/>
                  </a:cubicBezTo>
                  <a:cubicBezTo>
                    <a:pt x="165100" y="69850"/>
                    <a:pt x="172580" y="75242"/>
                    <a:pt x="177800" y="82550"/>
                  </a:cubicBezTo>
                  <a:cubicBezTo>
                    <a:pt x="183302" y="90253"/>
                    <a:pt x="185483" y="99923"/>
                    <a:pt x="190500" y="107950"/>
                  </a:cubicBezTo>
                  <a:cubicBezTo>
                    <a:pt x="196788" y="118011"/>
                    <a:pt x="217467" y="144978"/>
                    <a:pt x="228600" y="152400"/>
                  </a:cubicBezTo>
                  <a:cubicBezTo>
                    <a:pt x="240414" y="160276"/>
                    <a:pt x="253431" y="166395"/>
                    <a:pt x="266700" y="171450"/>
                  </a:cubicBezTo>
                  <a:cubicBezTo>
                    <a:pt x="359784" y="206910"/>
                    <a:pt x="349401" y="201108"/>
                    <a:pt x="438150" y="215900"/>
                  </a:cubicBezTo>
                  <a:cubicBezTo>
                    <a:pt x="442383" y="222250"/>
                    <a:pt x="445454" y="229554"/>
                    <a:pt x="450850" y="234950"/>
                  </a:cubicBezTo>
                  <a:cubicBezTo>
                    <a:pt x="462540" y="246640"/>
                    <a:pt x="475407" y="257220"/>
                    <a:pt x="488950" y="266700"/>
                  </a:cubicBezTo>
                  <a:cubicBezTo>
                    <a:pt x="496705" y="272128"/>
                    <a:pt x="505700" y="275555"/>
                    <a:pt x="514350" y="279400"/>
                  </a:cubicBezTo>
                  <a:cubicBezTo>
                    <a:pt x="540858" y="291181"/>
                    <a:pt x="556041" y="295414"/>
                    <a:pt x="584200" y="304800"/>
                  </a:cubicBezTo>
                  <a:cubicBezTo>
                    <a:pt x="589365" y="320294"/>
                    <a:pt x="590940" y="330590"/>
                    <a:pt x="603250" y="342900"/>
                  </a:cubicBezTo>
                  <a:cubicBezTo>
                    <a:pt x="620964" y="360614"/>
                    <a:pt x="636923" y="366824"/>
                    <a:pt x="660400" y="374650"/>
                  </a:cubicBezTo>
                  <a:cubicBezTo>
                    <a:pt x="703833" y="389128"/>
                    <a:pt x="790413" y="390811"/>
                    <a:pt x="812800" y="393700"/>
                  </a:cubicBezTo>
                  <a:cubicBezTo>
                    <a:pt x="836270" y="396728"/>
                    <a:pt x="859367" y="402167"/>
                    <a:pt x="882650" y="406400"/>
                  </a:cubicBezTo>
                  <a:cubicBezTo>
                    <a:pt x="893233" y="414867"/>
                    <a:pt x="901542" y="427514"/>
                    <a:pt x="914400" y="431800"/>
                  </a:cubicBezTo>
                  <a:cubicBezTo>
                    <a:pt x="1031776" y="470925"/>
                    <a:pt x="942863" y="421320"/>
                    <a:pt x="996950" y="444500"/>
                  </a:cubicBezTo>
                  <a:cubicBezTo>
                    <a:pt x="1005651" y="448229"/>
                    <a:pt x="1013700" y="453355"/>
                    <a:pt x="1022350" y="457200"/>
                  </a:cubicBezTo>
                  <a:cubicBezTo>
                    <a:pt x="1032766" y="461829"/>
                    <a:pt x="1044136" y="464364"/>
                    <a:pt x="1054100" y="469900"/>
                  </a:cubicBezTo>
                  <a:cubicBezTo>
                    <a:pt x="1063351" y="475040"/>
                    <a:pt x="1070209" y="483882"/>
                    <a:pt x="1079500" y="488950"/>
                  </a:cubicBezTo>
                  <a:cubicBezTo>
                    <a:pt x="1093652" y="496669"/>
                    <a:pt x="1109532" y="500791"/>
                    <a:pt x="1123950" y="508000"/>
                  </a:cubicBezTo>
                  <a:cubicBezTo>
                    <a:pt x="1137384" y="514717"/>
                    <a:pt x="1156895" y="532559"/>
                    <a:pt x="1168400" y="539750"/>
                  </a:cubicBezTo>
                  <a:cubicBezTo>
                    <a:pt x="1176427" y="544767"/>
                    <a:pt x="1185490" y="547917"/>
                    <a:pt x="1193800" y="552450"/>
                  </a:cubicBezTo>
                  <a:cubicBezTo>
                    <a:pt x="1208781" y="560622"/>
                    <a:pt x="1223433" y="569383"/>
                    <a:pt x="1238250" y="577850"/>
                  </a:cubicBezTo>
                  <a:cubicBezTo>
                    <a:pt x="1242483" y="584200"/>
                    <a:pt x="1247537" y="590074"/>
                    <a:pt x="1250950" y="596900"/>
                  </a:cubicBezTo>
                  <a:cubicBezTo>
                    <a:pt x="1255475" y="605951"/>
                    <a:pt x="1258419" y="630037"/>
                    <a:pt x="1270000" y="635000"/>
                  </a:cubicBezTo>
                  <a:cubicBezTo>
                    <a:pt x="1298220" y="647094"/>
                    <a:pt x="1350112" y="654702"/>
                    <a:pt x="1384300" y="660400"/>
                  </a:cubicBezTo>
                  <a:cubicBezTo>
                    <a:pt x="1390650" y="664633"/>
                    <a:pt x="1396305" y="670165"/>
                    <a:pt x="1403350" y="673100"/>
                  </a:cubicBezTo>
                  <a:cubicBezTo>
                    <a:pt x="1455735" y="694927"/>
                    <a:pt x="1458382" y="691885"/>
                    <a:pt x="1511300" y="698500"/>
                  </a:cubicBezTo>
                  <a:cubicBezTo>
                    <a:pt x="1519767" y="706967"/>
                    <a:pt x="1527609" y="716108"/>
                    <a:pt x="1536700" y="723900"/>
                  </a:cubicBezTo>
                  <a:cubicBezTo>
                    <a:pt x="1542494" y="728867"/>
                    <a:pt x="1550982" y="730641"/>
                    <a:pt x="1555750" y="736600"/>
                  </a:cubicBezTo>
                  <a:cubicBezTo>
                    <a:pt x="1559931" y="741827"/>
                    <a:pt x="1557815" y="750508"/>
                    <a:pt x="1562100" y="755650"/>
                  </a:cubicBezTo>
                  <a:cubicBezTo>
                    <a:pt x="1649051" y="859991"/>
                    <a:pt x="1587464" y="793732"/>
                    <a:pt x="1638300" y="819150"/>
                  </a:cubicBezTo>
                  <a:cubicBezTo>
                    <a:pt x="1687539" y="843769"/>
                    <a:pt x="1628517" y="822239"/>
                    <a:pt x="1676400" y="838200"/>
                  </a:cubicBezTo>
                  <a:cubicBezTo>
                    <a:pt x="1686517" y="848317"/>
                    <a:pt x="1707613" y="871209"/>
                    <a:pt x="1720850" y="876300"/>
                  </a:cubicBezTo>
                  <a:cubicBezTo>
                    <a:pt x="1762330" y="892254"/>
                    <a:pt x="1826541" y="892467"/>
                    <a:pt x="1866900" y="895350"/>
                  </a:cubicBezTo>
                  <a:lnTo>
                    <a:pt x="1892300" y="908050"/>
                  </a:ln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E2ED9D7-9ECF-70B7-C230-064EB9D9814E}"/>
                </a:ext>
              </a:extLst>
            </p:cNvPr>
            <p:cNvSpPr/>
            <p:nvPr/>
          </p:nvSpPr>
          <p:spPr bwMode="gray">
            <a:xfrm>
              <a:off x="10190703" y="5179806"/>
              <a:ext cx="223034" cy="470559"/>
            </a:xfrm>
            <a:custGeom>
              <a:avLst/>
              <a:gdLst>
                <a:gd name="connsiteX0" fmla="*/ 9206 w 294956"/>
                <a:gd name="connsiteY0" fmla="*/ 622300 h 622300"/>
                <a:gd name="connsiteX1" fmla="*/ 15556 w 294956"/>
                <a:gd name="connsiteY1" fmla="*/ 501650 h 622300"/>
                <a:gd name="connsiteX2" fmla="*/ 53656 w 294956"/>
                <a:gd name="connsiteY2" fmla="*/ 488950 h 622300"/>
                <a:gd name="connsiteX3" fmla="*/ 72706 w 294956"/>
                <a:gd name="connsiteY3" fmla="*/ 482600 h 622300"/>
                <a:gd name="connsiteX4" fmla="*/ 98106 w 294956"/>
                <a:gd name="connsiteY4" fmla="*/ 374650 h 622300"/>
                <a:gd name="connsiteX5" fmla="*/ 117156 w 294956"/>
                <a:gd name="connsiteY5" fmla="*/ 355600 h 622300"/>
                <a:gd name="connsiteX6" fmla="*/ 155256 w 294956"/>
                <a:gd name="connsiteY6" fmla="*/ 311150 h 622300"/>
                <a:gd name="connsiteX7" fmla="*/ 174306 w 294956"/>
                <a:gd name="connsiteY7" fmla="*/ 139700 h 622300"/>
                <a:gd name="connsiteX8" fmla="*/ 187006 w 294956"/>
                <a:gd name="connsiteY8" fmla="*/ 95250 h 622300"/>
                <a:gd name="connsiteX9" fmla="*/ 237806 w 294956"/>
                <a:gd name="connsiteY9" fmla="*/ 57150 h 622300"/>
                <a:gd name="connsiteX10" fmla="*/ 256856 w 294956"/>
                <a:gd name="connsiteY10" fmla="*/ 38100 h 622300"/>
                <a:gd name="connsiteX11" fmla="*/ 275906 w 294956"/>
                <a:gd name="connsiteY11" fmla="*/ 25400 h 622300"/>
                <a:gd name="connsiteX12" fmla="*/ 294956 w 294956"/>
                <a:gd name="connsiteY12" fmla="*/ 0 h 6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4956" h="622300">
                  <a:moveTo>
                    <a:pt x="9206" y="622300"/>
                  </a:moveTo>
                  <a:cubicBezTo>
                    <a:pt x="649" y="579516"/>
                    <a:pt x="-8832" y="550426"/>
                    <a:pt x="15556" y="501650"/>
                  </a:cubicBezTo>
                  <a:cubicBezTo>
                    <a:pt x="21543" y="489676"/>
                    <a:pt x="40956" y="493183"/>
                    <a:pt x="53656" y="488950"/>
                  </a:cubicBezTo>
                  <a:lnTo>
                    <a:pt x="72706" y="482600"/>
                  </a:lnTo>
                  <a:cubicBezTo>
                    <a:pt x="111077" y="405857"/>
                    <a:pt x="45083" y="544323"/>
                    <a:pt x="98106" y="374650"/>
                  </a:cubicBezTo>
                  <a:cubicBezTo>
                    <a:pt x="100785" y="366079"/>
                    <a:pt x="111312" y="362418"/>
                    <a:pt x="117156" y="355600"/>
                  </a:cubicBezTo>
                  <a:cubicBezTo>
                    <a:pt x="166032" y="298578"/>
                    <a:pt x="107986" y="358420"/>
                    <a:pt x="155256" y="311150"/>
                  </a:cubicBezTo>
                  <a:cubicBezTo>
                    <a:pt x="188158" y="228894"/>
                    <a:pt x="155620" y="320333"/>
                    <a:pt x="174306" y="139700"/>
                  </a:cubicBezTo>
                  <a:cubicBezTo>
                    <a:pt x="175892" y="124372"/>
                    <a:pt x="178733" y="108250"/>
                    <a:pt x="187006" y="95250"/>
                  </a:cubicBezTo>
                  <a:cubicBezTo>
                    <a:pt x="197464" y="78815"/>
                    <a:pt x="222824" y="69635"/>
                    <a:pt x="237806" y="57150"/>
                  </a:cubicBezTo>
                  <a:cubicBezTo>
                    <a:pt x="244705" y="51401"/>
                    <a:pt x="249957" y="43849"/>
                    <a:pt x="256856" y="38100"/>
                  </a:cubicBezTo>
                  <a:cubicBezTo>
                    <a:pt x="262719" y="33214"/>
                    <a:pt x="270510" y="30796"/>
                    <a:pt x="275906" y="25400"/>
                  </a:cubicBezTo>
                  <a:cubicBezTo>
                    <a:pt x="283390" y="17916"/>
                    <a:pt x="294956" y="0"/>
                    <a:pt x="294956" y="0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BADF3B2-E5F7-707B-8276-816B180DD6E7}"/>
                </a:ext>
              </a:extLst>
            </p:cNvPr>
            <p:cNvSpPr/>
            <p:nvPr/>
          </p:nvSpPr>
          <p:spPr bwMode="gray">
            <a:xfrm>
              <a:off x="10197664" y="5544729"/>
              <a:ext cx="489766" cy="100834"/>
            </a:xfrm>
            <a:custGeom>
              <a:avLst/>
              <a:gdLst>
                <a:gd name="connsiteX0" fmla="*/ 647700 w 647700"/>
                <a:gd name="connsiteY0" fmla="*/ 0 h 133350"/>
                <a:gd name="connsiteX1" fmla="*/ 615950 w 647700"/>
                <a:gd name="connsiteY1" fmla="*/ 6350 h 133350"/>
                <a:gd name="connsiteX2" fmla="*/ 577850 w 647700"/>
                <a:gd name="connsiteY2" fmla="*/ 25400 h 133350"/>
                <a:gd name="connsiteX3" fmla="*/ 539750 w 647700"/>
                <a:gd name="connsiteY3" fmla="*/ 38100 h 133350"/>
                <a:gd name="connsiteX4" fmla="*/ 425450 w 647700"/>
                <a:gd name="connsiteY4" fmla="*/ 31750 h 133350"/>
                <a:gd name="connsiteX5" fmla="*/ 368300 w 647700"/>
                <a:gd name="connsiteY5" fmla="*/ 25400 h 133350"/>
                <a:gd name="connsiteX6" fmla="*/ 241300 w 647700"/>
                <a:gd name="connsiteY6" fmla="*/ 31750 h 133350"/>
                <a:gd name="connsiteX7" fmla="*/ 196850 w 647700"/>
                <a:gd name="connsiteY7" fmla="*/ 50800 h 133350"/>
                <a:gd name="connsiteX8" fmla="*/ 165100 w 647700"/>
                <a:gd name="connsiteY8" fmla="*/ 63500 h 133350"/>
                <a:gd name="connsiteX9" fmla="*/ 120650 w 647700"/>
                <a:gd name="connsiteY9" fmla="*/ 69850 h 133350"/>
                <a:gd name="connsiteX10" fmla="*/ 88900 w 647700"/>
                <a:gd name="connsiteY10" fmla="*/ 76200 h 133350"/>
                <a:gd name="connsiteX11" fmla="*/ 69850 w 647700"/>
                <a:gd name="connsiteY11" fmla="*/ 107950 h 133350"/>
                <a:gd name="connsiteX12" fmla="*/ 12700 w 647700"/>
                <a:gd name="connsiteY12" fmla="*/ 127000 h 133350"/>
                <a:gd name="connsiteX13" fmla="*/ 0 w 647700"/>
                <a:gd name="connsiteY1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7700" h="133350">
                  <a:moveTo>
                    <a:pt x="647700" y="0"/>
                  </a:moveTo>
                  <a:cubicBezTo>
                    <a:pt x="637117" y="2117"/>
                    <a:pt x="626093" y="2662"/>
                    <a:pt x="615950" y="6350"/>
                  </a:cubicBezTo>
                  <a:cubicBezTo>
                    <a:pt x="602606" y="11202"/>
                    <a:pt x="590957" y="19939"/>
                    <a:pt x="577850" y="25400"/>
                  </a:cubicBezTo>
                  <a:cubicBezTo>
                    <a:pt x="565493" y="30549"/>
                    <a:pt x="552450" y="33867"/>
                    <a:pt x="539750" y="38100"/>
                  </a:cubicBezTo>
                  <a:lnTo>
                    <a:pt x="425450" y="31750"/>
                  </a:lnTo>
                  <a:cubicBezTo>
                    <a:pt x="406335" y="30334"/>
                    <a:pt x="387467" y="25400"/>
                    <a:pt x="368300" y="25400"/>
                  </a:cubicBezTo>
                  <a:cubicBezTo>
                    <a:pt x="325914" y="25400"/>
                    <a:pt x="283633" y="29633"/>
                    <a:pt x="241300" y="31750"/>
                  </a:cubicBezTo>
                  <a:cubicBezTo>
                    <a:pt x="196700" y="54050"/>
                    <a:pt x="234224" y="36785"/>
                    <a:pt x="196850" y="50800"/>
                  </a:cubicBezTo>
                  <a:cubicBezTo>
                    <a:pt x="186177" y="54802"/>
                    <a:pt x="176158" y="60735"/>
                    <a:pt x="165100" y="63500"/>
                  </a:cubicBezTo>
                  <a:cubicBezTo>
                    <a:pt x="150580" y="67130"/>
                    <a:pt x="135413" y="67389"/>
                    <a:pt x="120650" y="69850"/>
                  </a:cubicBezTo>
                  <a:cubicBezTo>
                    <a:pt x="110004" y="71624"/>
                    <a:pt x="99483" y="74083"/>
                    <a:pt x="88900" y="76200"/>
                  </a:cubicBezTo>
                  <a:cubicBezTo>
                    <a:pt x="82550" y="86783"/>
                    <a:pt x="77882" y="98579"/>
                    <a:pt x="69850" y="107950"/>
                  </a:cubicBezTo>
                  <a:cubicBezTo>
                    <a:pt x="53863" y="126602"/>
                    <a:pt x="35088" y="121403"/>
                    <a:pt x="12700" y="127000"/>
                  </a:cubicBezTo>
                  <a:cubicBezTo>
                    <a:pt x="8108" y="128148"/>
                    <a:pt x="4233" y="131233"/>
                    <a:pt x="0" y="13335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A93CADD-A4CE-6F53-D55E-DEFB2C11D4F6}"/>
                </a:ext>
              </a:extLst>
            </p:cNvPr>
            <p:cNvSpPr/>
            <p:nvPr/>
          </p:nvSpPr>
          <p:spPr bwMode="gray">
            <a:xfrm>
              <a:off x="9755915" y="5650365"/>
              <a:ext cx="436948" cy="169477"/>
            </a:xfrm>
            <a:custGeom>
              <a:avLst/>
              <a:gdLst>
                <a:gd name="connsiteX0" fmla="*/ 0 w 577850"/>
                <a:gd name="connsiteY0" fmla="*/ 215900 h 224129"/>
                <a:gd name="connsiteX1" fmla="*/ 146050 w 577850"/>
                <a:gd name="connsiteY1" fmla="*/ 203200 h 224129"/>
                <a:gd name="connsiteX2" fmla="*/ 203200 w 577850"/>
                <a:gd name="connsiteY2" fmla="*/ 177800 h 224129"/>
                <a:gd name="connsiteX3" fmla="*/ 387350 w 577850"/>
                <a:gd name="connsiteY3" fmla="*/ 171450 h 224129"/>
                <a:gd name="connsiteX4" fmla="*/ 412750 w 577850"/>
                <a:gd name="connsiteY4" fmla="*/ 158750 h 224129"/>
                <a:gd name="connsiteX5" fmla="*/ 444500 w 577850"/>
                <a:gd name="connsiteY5" fmla="*/ 127000 h 224129"/>
                <a:gd name="connsiteX6" fmla="*/ 488950 w 577850"/>
                <a:gd name="connsiteY6" fmla="*/ 76200 h 224129"/>
                <a:gd name="connsiteX7" fmla="*/ 520700 w 577850"/>
                <a:gd name="connsiteY7" fmla="*/ 57150 h 224129"/>
                <a:gd name="connsiteX8" fmla="*/ 558800 w 577850"/>
                <a:gd name="connsiteY8" fmla="*/ 31750 h 224129"/>
                <a:gd name="connsiteX9" fmla="*/ 577850 w 577850"/>
                <a:gd name="connsiteY9" fmla="*/ 0 h 22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7850" h="224129">
                  <a:moveTo>
                    <a:pt x="0" y="215900"/>
                  </a:moveTo>
                  <a:cubicBezTo>
                    <a:pt x="63933" y="228687"/>
                    <a:pt x="41476" y="228099"/>
                    <a:pt x="146050" y="203200"/>
                  </a:cubicBezTo>
                  <a:cubicBezTo>
                    <a:pt x="201843" y="189916"/>
                    <a:pt x="112947" y="180912"/>
                    <a:pt x="203200" y="177800"/>
                  </a:cubicBezTo>
                  <a:lnTo>
                    <a:pt x="387350" y="171450"/>
                  </a:lnTo>
                  <a:cubicBezTo>
                    <a:pt x="395817" y="167217"/>
                    <a:pt x="405278" y="164562"/>
                    <a:pt x="412750" y="158750"/>
                  </a:cubicBezTo>
                  <a:cubicBezTo>
                    <a:pt x="424564" y="149561"/>
                    <a:pt x="434556" y="138187"/>
                    <a:pt x="444500" y="127000"/>
                  </a:cubicBezTo>
                  <a:cubicBezTo>
                    <a:pt x="467873" y="100705"/>
                    <a:pt x="459304" y="99258"/>
                    <a:pt x="488950" y="76200"/>
                  </a:cubicBezTo>
                  <a:cubicBezTo>
                    <a:pt x="498692" y="68623"/>
                    <a:pt x="510287" y="63776"/>
                    <a:pt x="520700" y="57150"/>
                  </a:cubicBezTo>
                  <a:cubicBezTo>
                    <a:pt x="533577" y="48955"/>
                    <a:pt x="558800" y="31750"/>
                    <a:pt x="558800" y="31750"/>
                  </a:cubicBezTo>
                  <a:cubicBezTo>
                    <a:pt x="574125" y="8762"/>
                    <a:pt x="568087" y="19526"/>
                    <a:pt x="577850" y="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F36AA25-0FFD-6BED-DC00-649A20050630}"/>
                </a:ext>
              </a:extLst>
            </p:cNvPr>
            <p:cNvSpPr/>
            <p:nvPr/>
          </p:nvSpPr>
          <p:spPr bwMode="gray">
            <a:xfrm>
              <a:off x="9688693" y="5832826"/>
              <a:ext cx="103205" cy="288097"/>
            </a:xfrm>
            <a:custGeom>
              <a:avLst/>
              <a:gdLst>
                <a:gd name="connsiteX0" fmla="*/ 0 w 136486"/>
                <a:gd name="connsiteY0" fmla="*/ 381000 h 381000"/>
                <a:gd name="connsiteX1" fmla="*/ 38100 w 136486"/>
                <a:gd name="connsiteY1" fmla="*/ 323850 h 381000"/>
                <a:gd name="connsiteX2" fmla="*/ 57150 w 136486"/>
                <a:gd name="connsiteY2" fmla="*/ 190500 h 381000"/>
                <a:gd name="connsiteX3" fmla="*/ 107950 w 136486"/>
                <a:gd name="connsiteY3" fmla="*/ 127000 h 381000"/>
                <a:gd name="connsiteX4" fmla="*/ 133350 w 136486"/>
                <a:gd name="connsiteY4" fmla="*/ 107950 h 381000"/>
                <a:gd name="connsiteX5" fmla="*/ 133350 w 136486"/>
                <a:gd name="connsiteY5" fmla="*/ 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486" h="381000">
                  <a:moveTo>
                    <a:pt x="0" y="381000"/>
                  </a:moveTo>
                  <a:cubicBezTo>
                    <a:pt x="8415" y="370482"/>
                    <a:pt x="35332" y="341381"/>
                    <a:pt x="38100" y="323850"/>
                  </a:cubicBezTo>
                  <a:cubicBezTo>
                    <a:pt x="42595" y="295384"/>
                    <a:pt x="35543" y="225072"/>
                    <a:pt x="57150" y="190500"/>
                  </a:cubicBezTo>
                  <a:cubicBezTo>
                    <a:pt x="71516" y="167514"/>
                    <a:pt x="86265" y="143264"/>
                    <a:pt x="107950" y="127000"/>
                  </a:cubicBezTo>
                  <a:cubicBezTo>
                    <a:pt x="116417" y="120650"/>
                    <a:pt x="131274" y="118328"/>
                    <a:pt x="133350" y="107950"/>
                  </a:cubicBezTo>
                  <a:cubicBezTo>
                    <a:pt x="140407" y="72665"/>
                    <a:pt x="133350" y="35983"/>
                    <a:pt x="133350" y="0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1BEFEC4-9FD9-EFD6-36AA-7644F443459A}"/>
                </a:ext>
              </a:extLst>
            </p:cNvPr>
            <p:cNvSpPr/>
            <p:nvPr/>
          </p:nvSpPr>
          <p:spPr bwMode="gray">
            <a:xfrm>
              <a:off x="9827939" y="5823222"/>
              <a:ext cx="360121" cy="729846"/>
            </a:xfrm>
            <a:custGeom>
              <a:avLst/>
              <a:gdLst>
                <a:gd name="connsiteX0" fmla="*/ 476250 w 476250"/>
                <a:gd name="connsiteY0" fmla="*/ 965200 h 965200"/>
                <a:gd name="connsiteX1" fmla="*/ 450850 w 476250"/>
                <a:gd name="connsiteY1" fmla="*/ 857250 h 965200"/>
                <a:gd name="connsiteX2" fmla="*/ 431800 w 476250"/>
                <a:gd name="connsiteY2" fmla="*/ 825500 h 965200"/>
                <a:gd name="connsiteX3" fmla="*/ 406400 w 476250"/>
                <a:gd name="connsiteY3" fmla="*/ 806450 h 965200"/>
                <a:gd name="connsiteX4" fmla="*/ 330200 w 476250"/>
                <a:gd name="connsiteY4" fmla="*/ 723900 h 965200"/>
                <a:gd name="connsiteX5" fmla="*/ 304800 w 476250"/>
                <a:gd name="connsiteY5" fmla="*/ 685800 h 965200"/>
                <a:gd name="connsiteX6" fmla="*/ 292100 w 476250"/>
                <a:gd name="connsiteY6" fmla="*/ 666750 h 965200"/>
                <a:gd name="connsiteX7" fmla="*/ 279400 w 476250"/>
                <a:gd name="connsiteY7" fmla="*/ 641350 h 965200"/>
                <a:gd name="connsiteX8" fmla="*/ 254000 w 476250"/>
                <a:gd name="connsiteY8" fmla="*/ 609600 h 965200"/>
                <a:gd name="connsiteX9" fmla="*/ 228600 w 476250"/>
                <a:gd name="connsiteY9" fmla="*/ 571500 h 965200"/>
                <a:gd name="connsiteX10" fmla="*/ 215900 w 476250"/>
                <a:gd name="connsiteY10" fmla="*/ 552450 h 965200"/>
                <a:gd name="connsiteX11" fmla="*/ 190500 w 476250"/>
                <a:gd name="connsiteY11" fmla="*/ 520700 h 965200"/>
                <a:gd name="connsiteX12" fmla="*/ 171450 w 476250"/>
                <a:gd name="connsiteY12" fmla="*/ 501650 h 965200"/>
                <a:gd name="connsiteX13" fmla="*/ 158750 w 476250"/>
                <a:gd name="connsiteY13" fmla="*/ 482600 h 965200"/>
                <a:gd name="connsiteX14" fmla="*/ 101600 w 476250"/>
                <a:gd name="connsiteY14" fmla="*/ 431800 h 965200"/>
                <a:gd name="connsiteX15" fmla="*/ 57150 w 476250"/>
                <a:gd name="connsiteY15" fmla="*/ 381000 h 965200"/>
                <a:gd name="connsiteX16" fmla="*/ 44450 w 476250"/>
                <a:gd name="connsiteY16" fmla="*/ 361950 h 965200"/>
                <a:gd name="connsiteX17" fmla="*/ 25400 w 476250"/>
                <a:gd name="connsiteY17" fmla="*/ 298450 h 965200"/>
                <a:gd name="connsiteX18" fmla="*/ 19050 w 476250"/>
                <a:gd name="connsiteY18" fmla="*/ 279400 h 965200"/>
                <a:gd name="connsiteX19" fmla="*/ 6350 w 476250"/>
                <a:gd name="connsiteY19" fmla="*/ 222250 h 965200"/>
                <a:gd name="connsiteX20" fmla="*/ 0 w 476250"/>
                <a:gd name="connsiteY20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6250" h="965200">
                  <a:moveTo>
                    <a:pt x="476250" y="965200"/>
                  </a:moveTo>
                  <a:cubicBezTo>
                    <a:pt x="467963" y="915478"/>
                    <a:pt x="470331" y="896211"/>
                    <a:pt x="450850" y="857250"/>
                  </a:cubicBezTo>
                  <a:cubicBezTo>
                    <a:pt x="445330" y="846211"/>
                    <a:pt x="439927" y="834788"/>
                    <a:pt x="431800" y="825500"/>
                  </a:cubicBezTo>
                  <a:cubicBezTo>
                    <a:pt x="424831" y="817535"/>
                    <a:pt x="414202" y="813601"/>
                    <a:pt x="406400" y="806450"/>
                  </a:cubicBezTo>
                  <a:cubicBezTo>
                    <a:pt x="376444" y="778990"/>
                    <a:pt x="353339" y="755716"/>
                    <a:pt x="330200" y="723900"/>
                  </a:cubicBezTo>
                  <a:cubicBezTo>
                    <a:pt x="321222" y="711556"/>
                    <a:pt x="313267" y="698500"/>
                    <a:pt x="304800" y="685800"/>
                  </a:cubicBezTo>
                  <a:cubicBezTo>
                    <a:pt x="300567" y="679450"/>
                    <a:pt x="295513" y="673576"/>
                    <a:pt x="292100" y="666750"/>
                  </a:cubicBezTo>
                  <a:cubicBezTo>
                    <a:pt x="287867" y="658283"/>
                    <a:pt x="284651" y="649226"/>
                    <a:pt x="279400" y="641350"/>
                  </a:cubicBezTo>
                  <a:cubicBezTo>
                    <a:pt x="271882" y="630073"/>
                    <a:pt x="261972" y="620561"/>
                    <a:pt x="254000" y="609600"/>
                  </a:cubicBezTo>
                  <a:cubicBezTo>
                    <a:pt x="245022" y="597256"/>
                    <a:pt x="237067" y="584200"/>
                    <a:pt x="228600" y="571500"/>
                  </a:cubicBezTo>
                  <a:cubicBezTo>
                    <a:pt x="224367" y="565150"/>
                    <a:pt x="220668" y="558409"/>
                    <a:pt x="215900" y="552450"/>
                  </a:cubicBezTo>
                  <a:cubicBezTo>
                    <a:pt x="207433" y="541867"/>
                    <a:pt x="199425" y="530900"/>
                    <a:pt x="190500" y="520700"/>
                  </a:cubicBezTo>
                  <a:cubicBezTo>
                    <a:pt x="184586" y="513942"/>
                    <a:pt x="177199" y="508549"/>
                    <a:pt x="171450" y="501650"/>
                  </a:cubicBezTo>
                  <a:cubicBezTo>
                    <a:pt x="166564" y="495787"/>
                    <a:pt x="163820" y="488304"/>
                    <a:pt x="158750" y="482600"/>
                  </a:cubicBezTo>
                  <a:cubicBezTo>
                    <a:pt x="78662" y="392501"/>
                    <a:pt x="151142" y="474265"/>
                    <a:pt x="101600" y="431800"/>
                  </a:cubicBezTo>
                  <a:cubicBezTo>
                    <a:pt x="81015" y="414156"/>
                    <a:pt x="72514" y="402509"/>
                    <a:pt x="57150" y="381000"/>
                  </a:cubicBezTo>
                  <a:cubicBezTo>
                    <a:pt x="52714" y="374790"/>
                    <a:pt x="47550" y="368924"/>
                    <a:pt x="44450" y="361950"/>
                  </a:cubicBezTo>
                  <a:cubicBezTo>
                    <a:pt x="32378" y="334787"/>
                    <a:pt x="32788" y="324309"/>
                    <a:pt x="25400" y="298450"/>
                  </a:cubicBezTo>
                  <a:cubicBezTo>
                    <a:pt x="23561" y="292014"/>
                    <a:pt x="20502" y="285934"/>
                    <a:pt x="19050" y="279400"/>
                  </a:cubicBezTo>
                  <a:cubicBezTo>
                    <a:pt x="4149" y="212346"/>
                    <a:pt x="20645" y="265134"/>
                    <a:pt x="6350" y="222250"/>
                  </a:cubicBezTo>
                  <a:cubicBezTo>
                    <a:pt x="4171" y="148168"/>
                    <a:pt x="0" y="74114"/>
                    <a:pt x="0" y="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D61FEC9-CCEA-9489-D180-1975B9CD4924}"/>
                </a:ext>
              </a:extLst>
            </p:cNvPr>
            <p:cNvSpPr/>
            <p:nvPr/>
          </p:nvSpPr>
          <p:spPr bwMode="gray">
            <a:xfrm>
              <a:off x="7786624" y="5199013"/>
              <a:ext cx="73637" cy="571393"/>
            </a:xfrm>
            <a:custGeom>
              <a:avLst/>
              <a:gdLst>
                <a:gd name="connsiteX0" fmla="*/ 57977 w 97383"/>
                <a:gd name="connsiteY0" fmla="*/ 755650 h 755650"/>
                <a:gd name="connsiteX1" fmla="*/ 77027 w 97383"/>
                <a:gd name="connsiteY1" fmla="*/ 698500 h 755650"/>
                <a:gd name="connsiteX2" fmla="*/ 89727 w 97383"/>
                <a:gd name="connsiteY2" fmla="*/ 647700 h 755650"/>
                <a:gd name="connsiteX3" fmla="*/ 96077 w 97383"/>
                <a:gd name="connsiteY3" fmla="*/ 628650 h 755650"/>
                <a:gd name="connsiteX4" fmla="*/ 83377 w 97383"/>
                <a:gd name="connsiteY4" fmla="*/ 457200 h 755650"/>
                <a:gd name="connsiteX5" fmla="*/ 70677 w 97383"/>
                <a:gd name="connsiteY5" fmla="*/ 431800 h 755650"/>
                <a:gd name="connsiteX6" fmla="*/ 38927 w 97383"/>
                <a:gd name="connsiteY6" fmla="*/ 254000 h 755650"/>
                <a:gd name="connsiteX7" fmla="*/ 26227 w 97383"/>
                <a:gd name="connsiteY7" fmla="*/ 228600 h 755650"/>
                <a:gd name="connsiteX8" fmla="*/ 7177 w 97383"/>
                <a:gd name="connsiteY8" fmla="*/ 158750 h 755650"/>
                <a:gd name="connsiteX9" fmla="*/ 827 w 97383"/>
                <a:gd name="connsiteY9" fmla="*/ 139700 h 755650"/>
                <a:gd name="connsiteX10" fmla="*/ 827 w 97383"/>
                <a:gd name="connsiteY10" fmla="*/ 0 h 75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383" h="755650">
                  <a:moveTo>
                    <a:pt x="57977" y="755650"/>
                  </a:moveTo>
                  <a:cubicBezTo>
                    <a:pt x="76175" y="664659"/>
                    <a:pt x="50737" y="777370"/>
                    <a:pt x="77027" y="698500"/>
                  </a:cubicBezTo>
                  <a:cubicBezTo>
                    <a:pt x="82547" y="681941"/>
                    <a:pt x="84207" y="664259"/>
                    <a:pt x="89727" y="647700"/>
                  </a:cubicBezTo>
                  <a:lnTo>
                    <a:pt x="96077" y="628650"/>
                  </a:lnTo>
                  <a:cubicBezTo>
                    <a:pt x="94690" y="595371"/>
                    <a:pt x="105115" y="507922"/>
                    <a:pt x="83377" y="457200"/>
                  </a:cubicBezTo>
                  <a:cubicBezTo>
                    <a:pt x="79648" y="448499"/>
                    <a:pt x="74910" y="440267"/>
                    <a:pt x="70677" y="431800"/>
                  </a:cubicBezTo>
                  <a:cubicBezTo>
                    <a:pt x="61813" y="360888"/>
                    <a:pt x="60487" y="340240"/>
                    <a:pt x="38927" y="254000"/>
                  </a:cubicBezTo>
                  <a:cubicBezTo>
                    <a:pt x="36631" y="244817"/>
                    <a:pt x="29743" y="237389"/>
                    <a:pt x="26227" y="228600"/>
                  </a:cubicBezTo>
                  <a:cubicBezTo>
                    <a:pt x="8063" y="183191"/>
                    <a:pt x="17806" y="201265"/>
                    <a:pt x="7177" y="158750"/>
                  </a:cubicBezTo>
                  <a:cubicBezTo>
                    <a:pt x="5554" y="152256"/>
                    <a:pt x="1095" y="146388"/>
                    <a:pt x="827" y="139700"/>
                  </a:cubicBezTo>
                  <a:cubicBezTo>
                    <a:pt x="-1034" y="93171"/>
                    <a:pt x="827" y="46567"/>
                    <a:pt x="827" y="0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520A3802-808E-652A-3295-CEDE307736C5}"/>
                </a:ext>
              </a:extLst>
            </p:cNvPr>
            <p:cNvSpPr/>
            <p:nvPr/>
          </p:nvSpPr>
          <p:spPr bwMode="gray">
            <a:xfrm>
              <a:off x="7551198" y="6071865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4E16A18-9EF1-D09C-4D01-57D53254CB5B}"/>
                </a:ext>
              </a:extLst>
            </p:cNvPr>
            <p:cNvSpPr/>
            <p:nvPr/>
          </p:nvSpPr>
          <p:spPr bwMode="gray">
            <a:xfrm>
              <a:off x="7575994" y="5776953"/>
              <a:ext cx="246613" cy="324764"/>
            </a:xfrm>
            <a:custGeom>
              <a:avLst/>
              <a:gdLst>
                <a:gd name="connsiteX0" fmla="*/ 326139 w 326139"/>
                <a:gd name="connsiteY0" fmla="*/ 0 h 429491"/>
                <a:gd name="connsiteX1" fmla="*/ 236085 w 326139"/>
                <a:gd name="connsiteY1" fmla="*/ 55418 h 429491"/>
                <a:gd name="connsiteX2" fmla="*/ 194521 w 326139"/>
                <a:gd name="connsiteY2" fmla="*/ 96982 h 429491"/>
                <a:gd name="connsiteX3" fmla="*/ 159885 w 326139"/>
                <a:gd name="connsiteY3" fmla="*/ 103909 h 429491"/>
                <a:gd name="connsiteX4" fmla="*/ 146030 w 326139"/>
                <a:gd name="connsiteY4" fmla="*/ 152400 h 429491"/>
                <a:gd name="connsiteX5" fmla="*/ 139103 w 326139"/>
                <a:gd name="connsiteY5" fmla="*/ 180109 h 429491"/>
                <a:gd name="connsiteX6" fmla="*/ 97539 w 326139"/>
                <a:gd name="connsiteY6" fmla="*/ 277091 h 429491"/>
                <a:gd name="connsiteX7" fmla="*/ 76757 w 326139"/>
                <a:gd name="connsiteY7" fmla="*/ 290946 h 429491"/>
                <a:gd name="connsiteX8" fmla="*/ 55975 w 326139"/>
                <a:gd name="connsiteY8" fmla="*/ 311727 h 429491"/>
                <a:gd name="connsiteX9" fmla="*/ 14412 w 326139"/>
                <a:gd name="connsiteY9" fmla="*/ 332509 h 429491"/>
                <a:gd name="connsiteX10" fmla="*/ 557 w 326139"/>
                <a:gd name="connsiteY10" fmla="*/ 387927 h 429491"/>
                <a:gd name="connsiteX11" fmla="*/ 557 w 326139"/>
                <a:gd name="connsiteY11" fmla="*/ 429491 h 42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6139" h="429491">
                  <a:moveTo>
                    <a:pt x="326139" y="0"/>
                  </a:moveTo>
                  <a:cubicBezTo>
                    <a:pt x="249727" y="45847"/>
                    <a:pt x="279272" y="26627"/>
                    <a:pt x="236085" y="55418"/>
                  </a:cubicBezTo>
                  <a:cubicBezTo>
                    <a:pt x="223001" y="75044"/>
                    <a:pt x="218941" y="86129"/>
                    <a:pt x="194521" y="96982"/>
                  </a:cubicBezTo>
                  <a:cubicBezTo>
                    <a:pt x="183762" y="101764"/>
                    <a:pt x="171430" y="101600"/>
                    <a:pt x="159885" y="103909"/>
                  </a:cubicBezTo>
                  <a:cubicBezTo>
                    <a:pt x="138214" y="190584"/>
                    <a:pt x="165917" y="82794"/>
                    <a:pt x="146030" y="152400"/>
                  </a:cubicBezTo>
                  <a:cubicBezTo>
                    <a:pt x="143415" y="161554"/>
                    <a:pt x="141839" y="170990"/>
                    <a:pt x="139103" y="180109"/>
                  </a:cubicBezTo>
                  <a:cubicBezTo>
                    <a:pt x="129549" y="211957"/>
                    <a:pt x="116461" y="250060"/>
                    <a:pt x="97539" y="277091"/>
                  </a:cubicBezTo>
                  <a:cubicBezTo>
                    <a:pt x="92765" y="283912"/>
                    <a:pt x="83153" y="285616"/>
                    <a:pt x="76757" y="290946"/>
                  </a:cubicBezTo>
                  <a:cubicBezTo>
                    <a:pt x="69231" y="297217"/>
                    <a:pt x="63501" y="305455"/>
                    <a:pt x="55975" y="311727"/>
                  </a:cubicBezTo>
                  <a:cubicBezTo>
                    <a:pt x="38068" y="326650"/>
                    <a:pt x="35243" y="325566"/>
                    <a:pt x="14412" y="332509"/>
                  </a:cubicBezTo>
                  <a:cubicBezTo>
                    <a:pt x="7651" y="352794"/>
                    <a:pt x="2647" y="364943"/>
                    <a:pt x="557" y="387927"/>
                  </a:cubicBezTo>
                  <a:cubicBezTo>
                    <a:pt x="-697" y="401725"/>
                    <a:pt x="557" y="415636"/>
                    <a:pt x="557" y="429491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ADBBC6B-00FA-6D1F-C892-EB578839810E}"/>
                </a:ext>
              </a:extLst>
            </p:cNvPr>
            <p:cNvSpPr/>
            <p:nvPr/>
          </p:nvSpPr>
          <p:spPr bwMode="gray">
            <a:xfrm>
              <a:off x="11026069" y="5637826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D2300EF-901D-C9E6-B32A-75028AC099CB}"/>
                </a:ext>
              </a:extLst>
            </p:cNvPr>
            <p:cNvSpPr/>
            <p:nvPr/>
          </p:nvSpPr>
          <p:spPr bwMode="gray">
            <a:xfrm>
              <a:off x="5592908" y="4896510"/>
              <a:ext cx="883498" cy="158454"/>
            </a:xfrm>
            <a:custGeom>
              <a:avLst/>
              <a:gdLst>
                <a:gd name="connsiteX0" fmla="*/ 0 w 1168400"/>
                <a:gd name="connsiteY0" fmla="*/ 209550 h 209550"/>
                <a:gd name="connsiteX1" fmla="*/ 50800 w 1168400"/>
                <a:gd name="connsiteY1" fmla="*/ 196850 h 209550"/>
                <a:gd name="connsiteX2" fmla="*/ 63500 w 1168400"/>
                <a:gd name="connsiteY2" fmla="*/ 177800 h 209550"/>
                <a:gd name="connsiteX3" fmla="*/ 82550 w 1168400"/>
                <a:gd name="connsiteY3" fmla="*/ 171450 h 209550"/>
                <a:gd name="connsiteX4" fmla="*/ 114300 w 1168400"/>
                <a:gd name="connsiteY4" fmla="*/ 158750 h 209550"/>
                <a:gd name="connsiteX5" fmla="*/ 133350 w 1168400"/>
                <a:gd name="connsiteY5" fmla="*/ 152400 h 209550"/>
                <a:gd name="connsiteX6" fmla="*/ 152400 w 1168400"/>
                <a:gd name="connsiteY6" fmla="*/ 139700 h 209550"/>
                <a:gd name="connsiteX7" fmla="*/ 177800 w 1168400"/>
                <a:gd name="connsiteY7" fmla="*/ 133350 h 209550"/>
                <a:gd name="connsiteX8" fmla="*/ 196850 w 1168400"/>
                <a:gd name="connsiteY8" fmla="*/ 127000 h 209550"/>
                <a:gd name="connsiteX9" fmla="*/ 209550 w 1168400"/>
                <a:gd name="connsiteY9" fmla="*/ 107950 h 209550"/>
                <a:gd name="connsiteX10" fmla="*/ 247650 w 1168400"/>
                <a:gd name="connsiteY10" fmla="*/ 76200 h 209550"/>
                <a:gd name="connsiteX11" fmla="*/ 273050 w 1168400"/>
                <a:gd name="connsiteY11" fmla="*/ 38100 h 209550"/>
                <a:gd name="connsiteX12" fmla="*/ 304800 w 1168400"/>
                <a:gd name="connsiteY12" fmla="*/ 19050 h 209550"/>
                <a:gd name="connsiteX13" fmla="*/ 330200 w 1168400"/>
                <a:gd name="connsiteY13" fmla="*/ 12700 h 209550"/>
                <a:gd name="connsiteX14" fmla="*/ 374650 w 1168400"/>
                <a:gd name="connsiteY14" fmla="*/ 0 h 209550"/>
                <a:gd name="connsiteX15" fmla="*/ 419100 w 1168400"/>
                <a:gd name="connsiteY15" fmla="*/ 12700 h 209550"/>
                <a:gd name="connsiteX16" fmla="*/ 431800 w 1168400"/>
                <a:gd name="connsiteY16" fmla="*/ 31750 h 209550"/>
                <a:gd name="connsiteX17" fmla="*/ 463550 w 1168400"/>
                <a:gd name="connsiteY17" fmla="*/ 57150 h 209550"/>
                <a:gd name="connsiteX18" fmla="*/ 482600 w 1168400"/>
                <a:gd name="connsiteY18" fmla="*/ 63500 h 209550"/>
                <a:gd name="connsiteX19" fmla="*/ 533400 w 1168400"/>
                <a:gd name="connsiteY19" fmla="*/ 76200 h 209550"/>
                <a:gd name="connsiteX20" fmla="*/ 736600 w 1168400"/>
                <a:gd name="connsiteY20" fmla="*/ 69850 h 209550"/>
                <a:gd name="connsiteX21" fmla="*/ 762000 w 1168400"/>
                <a:gd name="connsiteY21" fmla="*/ 50800 h 209550"/>
                <a:gd name="connsiteX22" fmla="*/ 838200 w 1168400"/>
                <a:gd name="connsiteY22" fmla="*/ 63500 h 209550"/>
                <a:gd name="connsiteX23" fmla="*/ 869950 w 1168400"/>
                <a:gd name="connsiteY23" fmla="*/ 76200 h 209550"/>
                <a:gd name="connsiteX24" fmla="*/ 895350 w 1168400"/>
                <a:gd name="connsiteY24" fmla="*/ 82550 h 209550"/>
                <a:gd name="connsiteX25" fmla="*/ 914400 w 1168400"/>
                <a:gd name="connsiteY25" fmla="*/ 88900 h 209550"/>
                <a:gd name="connsiteX26" fmla="*/ 1041400 w 1168400"/>
                <a:gd name="connsiteY26" fmla="*/ 76200 h 209550"/>
                <a:gd name="connsiteX27" fmla="*/ 1066800 w 1168400"/>
                <a:gd name="connsiteY27" fmla="*/ 69850 h 209550"/>
                <a:gd name="connsiteX28" fmla="*/ 1123950 w 1168400"/>
                <a:gd name="connsiteY28" fmla="*/ 57150 h 209550"/>
                <a:gd name="connsiteX29" fmla="*/ 1136650 w 1168400"/>
                <a:gd name="connsiteY29" fmla="*/ 38100 h 209550"/>
                <a:gd name="connsiteX30" fmla="*/ 1162050 w 1168400"/>
                <a:gd name="connsiteY30" fmla="*/ 25400 h 209550"/>
                <a:gd name="connsiteX31" fmla="*/ 1168400 w 1168400"/>
                <a:gd name="connsiteY31" fmla="*/ 190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68400" h="209550">
                  <a:moveTo>
                    <a:pt x="0" y="209550"/>
                  </a:moveTo>
                  <a:cubicBezTo>
                    <a:pt x="1581" y="209234"/>
                    <a:pt x="44291" y="202057"/>
                    <a:pt x="50800" y="196850"/>
                  </a:cubicBezTo>
                  <a:cubicBezTo>
                    <a:pt x="56759" y="192082"/>
                    <a:pt x="57541" y="182568"/>
                    <a:pt x="63500" y="177800"/>
                  </a:cubicBezTo>
                  <a:cubicBezTo>
                    <a:pt x="68727" y="173619"/>
                    <a:pt x="76283" y="173800"/>
                    <a:pt x="82550" y="171450"/>
                  </a:cubicBezTo>
                  <a:cubicBezTo>
                    <a:pt x="93223" y="167448"/>
                    <a:pt x="103627" y="162752"/>
                    <a:pt x="114300" y="158750"/>
                  </a:cubicBezTo>
                  <a:cubicBezTo>
                    <a:pt x="120567" y="156400"/>
                    <a:pt x="127363" y="155393"/>
                    <a:pt x="133350" y="152400"/>
                  </a:cubicBezTo>
                  <a:cubicBezTo>
                    <a:pt x="140176" y="148987"/>
                    <a:pt x="145385" y="142706"/>
                    <a:pt x="152400" y="139700"/>
                  </a:cubicBezTo>
                  <a:cubicBezTo>
                    <a:pt x="160422" y="136262"/>
                    <a:pt x="169409" y="135748"/>
                    <a:pt x="177800" y="133350"/>
                  </a:cubicBezTo>
                  <a:cubicBezTo>
                    <a:pt x="184236" y="131511"/>
                    <a:pt x="190500" y="129117"/>
                    <a:pt x="196850" y="127000"/>
                  </a:cubicBezTo>
                  <a:cubicBezTo>
                    <a:pt x="201083" y="120650"/>
                    <a:pt x="204154" y="113346"/>
                    <a:pt x="209550" y="107950"/>
                  </a:cubicBezTo>
                  <a:cubicBezTo>
                    <a:pt x="246239" y="71261"/>
                    <a:pt x="211240" y="123013"/>
                    <a:pt x="247650" y="76200"/>
                  </a:cubicBezTo>
                  <a:cubicBezTo>
                    <a:pt x="257021" y="64152"/>
                    <a:pt x="259962" y="45953"/>
                    <a:pt x="273050" y="38100"/>
                  </a:cubicBezTo>
                  <a:cubicBezTo>
                    <a:pt x="283633" y="31750"/>
                    <a:pt x="293522" y="24063"/>
                    <a:pt x="304800" y="19050"/>
                  </a:cubicBezTo>
                  <a:cubicBezTo>
                    <a:pt x="312775" y="15506"/>
                    <a:pt x="321809" y="15098"/>
                    <a:pt x="330200" y="12700"/>
                  </a:cubicBezTo>
                  <a:cubicBezTo>
                    <a:pt x="393969" y="-5520"/>
                    <a:pt x="295245" y="19851"/>
                    <a:pt x="374650" y="0"/>
                  </a:cubicBezTo>
                  <a:cubicBezTo>
                    <a:pt x="389467" y="4233"/>
                    <a:pt x="405630" y="5216"/>
                    <a:pt x="419100" y="12700"/>
                  </a:cubicBezTo>
                  <a:cubicBezTo>
                    <a:pt x="425771" y="16406"/>
                    <a:pt x="426404" y="26354"/>
                    <a:pt x="431800" y="31750"/>
                  </a:cubicBezTo>
                  <a:cubicBezTo>
                    <a:pt x="441384" y="41334"/>
                    <a:pt x="452057" y="49967"/>
                    <a:pt x="463550" y="57150"/>
                  </a:cubicBezTo>
                  <a:cubicBezTo>
                    <a:pt x="469226" y="60698"/>
                    <a:pt x="476142" y="61739"/>
                    <a:pt x="482600" y="63500"/>
                  </a:cubicBezTo>
                  <a:cubicBezTo>
                    <a:pt x="499439" y="68093"/>
                    <a:pt x="533400" y="76200"/>
                    <a:pt x="533400" y="76200"/>
                  </a:cubicBezTo>
                  <a:cubicBezTo>
                    <a:pt x="601133" y="74083"/>
                    <a:pt x="669248" y="77334"/>
                    <a:pt x="736600" y="69850"/>
                  </a:cubicBezTo>
                  <a:cubicBezTo>
                    <a:pt x="747119" y="68681"/>
                    <a:pt x="751437" y="51460"/>
                    <a:pt x="762000" y="50800"/>
                  </a:cubicBezTo>
                  <a:cubicBezTo>
                    <a:pt x="787700" y="49194"/>
                    <a:pt x="838200" y="63500"/>
                    <a:pt x="838200" y="63500"/>
                  </a:cubicBezTo>
                  <a:cubicBezTo>
                    <a:pt x="848783" y="67733"/>
                    <a:pt x="859136" y="72595"/>
                    <a:pt x="869950" y="76200"/>
                  </a:cubicBezTo>
                  <a:cubicBezTo>
                    <a:pt x="878229" y="78960"/>
                    <a:pt x="886959" y="80152"/>
                    <a:pt x="895350" y="82550"/>
                  </a:cubicBezTo>
                  <a:cubicBezTo>
                    <a:pt x="901786" y="84389"/>
                    <a:pt x="908050" y="86783"/>
                    <a:pt x="914400" y="88900"/>
                  </a:cubicBezTo>
                  <a:cubicBezTo>
                    <a:pt x="956733" y="84667"/>
                    <a:pt x="1000126" y="86519"/>
                    <a:pt x="1041400" y="76200"/>
                  </a:cubicBezTo>
                  <a:cubicBezTo>
                    <a:pt x="1049867" y="74083"/>
                    <a:pt x="1058242" y="71562"/>
                    <a:pt x="1066800" y="69850"/>
                  </a:cubicBezTo>
                  <a:cubicBezTo>
                    <a:pt x="1122678" y="58674"/>
                    <a:pt x="1086876" y="69508"/>
                    <a:pt x="1123950" y="57150"/>
                  </a:cubicBezTo>
                  <a:cubicBezTo>
                    <a:pt x="1128183" y="50800"/>
                    <a:pt x="1130787" y="42986"/>
                    <a:pt x="1136650" y="38100"/>
                  </a:cubicBezTo>
                  <a:cubicBezTo>
                    <a:pt x="1143922" y="32040"/>
                    <a:pt x="1153933" y="30270"/>
                    <a:pt x="1162050" y="25400"/>
                  </a:cubicBezTo>
                  <a:cubicBezTo>
                    <a:pt x="1164617" y="23860"/>
                    <a:pt x="1166283" y="21167"/>
                    <a:pt x="1168400" y="1905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/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50CCAE9-DAD7-07C5-FE2F-C8B757502431}"/>
                </a:ext>
              </a:extLst>
            </p:cNvPr>
            <p:cNvSpPr/>
            <p:nvPr/>
          </p:nvSpPr>
          <p:spPr bwMode="gray">
            <a:xfrm>
              <a:off x="6457200" y="4406746"/>
              <a:ext cx="931514" cy="528178"/>
            </a:xfrm>
            <a:custGeom>
              <a:avLst/>
              <a:gdLst>
                <a:gd name="connsiteX0" fmla="*/ 1231900 w 1231900"/>
                <a:gd name="connsiteY0" fmla="*/ 0 h 698500"/>
                <a:gd name="connsiteX1" fmla="*/ 1200150 w 1231900"/>
                <a:gd name="connsiteY1" fmla="*/ 6350 h 698500"/>
                <a:gd name="connsiteX2" fmla="*/ 1155700 w 1231900"/>
                <a:gd name="connsiteY2" fmla="*/ 12700 h 698500"/>
                <a:gd name="connsiteX3" fmla="*/ 1123950 w 1231900"/>
                <a:gd name="connsiteY3" fmla="*/ 25400 h 698500"/>
                <a:gd name="connsiteX4" fmla="*/ 1104900 w 1231900"/>
                <a:gd name="connsiteY4" fmla="*/ 82550 h 698500"/>
                <a:gd name="connsiteX5" fmla="*/ 1073150 w 1231900"/>
                <a:gd name="connsiteY5" fmla="*/ 101600 h 698500"/>
                <a:gd name="connsiteX6" fmla="*/ 1054100 w 1231900"/>
                <a:gd name="connsiteY6" fmla="*/ 158750 h 698500"/>
                <a:gd name="connsiteX7" fmla="*/ 1016000 w 1231900"/>
                <a:gd name="connsiteY7" fmla="*/ 165100 h 698500"/>
                <a:gd name="connsiteX8" fmla="*/ 977900 w 1231900"/>
                <a:gd name="connsiteY8" fmla="*/ 177800 h 698500"/>
                <a:gd name="connsiteX9" fmla="*/ 971550 w 1231900"/>
                <a:gd name="connsiteY9" fmla="*/ 196850 h 698500"/>
                <a:gd name="connsiteX10" fmla="*/ 933450 w 1231900"/>
                <a:gd name="connsiteY10" fmla="*/ 228600 h 698500"/>
                <a:gd name="connsiteX11" fmla="*/ 914400 w 1231900"/>
                <a:gd name="connsiteY11" fmla="*/ 254000 h 698500"/>
                <a:gd name="connsiteX12" fmla="*/ 876300 w 1231900"/>
                <a:gd name="connsiteY12" fmla="*/ 279400 h 698500"/>
                <a:gd name="connsiteX13" fmla="*/ 844550 w 1231900"/>
                <a:gd name="connsiteY13" fmla="*/ 285750 h 698500"/>
                <a:gd name="connsiteX14" fmla="*/ 819150 w 1231900"/>
                <a:gd name="connsiteY14" fmla="*/ 292100 h 698500"/>
                <a:gd name="connsiteX15" fmla="*/ 781050 w 1231900"/>
                <a:gd name="connsiteY15" fmla="*/ 317500 h 698500"/>
                <a:gd name="connsiteX16" fmla="*/ 755650 w 1231900"/>
                <a:gd name="connsiteY16" fmla="*/ 330200 h 698500"/>
                <a:gd name="connsiteX17" fmla="*/ 736600 w 1231900"/>
                <a:gd name="connsiteY17" fmla="*/ 349250 h 698500"/>
                <a:gd name="connsiteX18" fmla="*/ 692150 w 1231900"/>
                <a:gd name="connsiteY18" fmla="*/ 393700 h 698500"/>
                <a:gd name="connsiteX19" fmla="*/ 685800 w 1231900"/>
                <a:gd name="connsiteY19" fmla="*/ 412750 h 698500"/>
                <a:gd name="connsiteX20" fmla="*/ 666750 w 1231900"/>
                <a:gd name="connsiteY20" fmla="*/ 425450 h 698500"/>
                <a:gd name="connsiteX21" fmla="*/ 641350 w 1231900"/>
                <a:gd name="connsiteY21" fmla="*/ 438150 h 698500"/>
                <a:gd name="connsiteX22" fmla="*/ 622300 w 1231900"/>
                <a:gd name="connsiteY22" fmla="*/ 450850 h 698500"/>
                <a:gd name="connsiteX23" fmla="*/ 590550 w 1231900"/>
                <a:gd name="connsiteY23" fmla="*/ 457200 h 698500"/>
                <a:gd name="connsiteX24" fmla="*/ 533400 w 1231900"/>
                <a:gd name="connsiteY24" fmla="*/ 520700 h 698500"/>
                <a:gd name="connsiteX25" fmla="*/ 520700 w 1231900"/>
                <a:gd name="connsiteY25" fmla="*/ 539750 h 698500"/>
                <a:gd name="connsiteX26" fmla="*/ 482600 w 1231900"/>
                <a:gd name="connsiteY26" fmla="*/ 552450 h 698500"/>
                <a:gd name="connsiteX27" fmla="*/ 425450 w 1231900"/>
                <a:gd name="connsiteY27" fmla="*/ 571500 h 698500"/>
                <a:gd name="connsiteX28" fmla="*/ 400050 w 1231900"/>
                <a:gd name="connsiteY28" fmla="*/ 584200 h 698500"/>
                <a:gd name="connsiteX29" fmla="*/ 381000 w 1231900"/>
                <a:gd name="connsiteY29" fmla="*/ 590550 h 698500"/>
                <a:gd name="connsiteX30" fmla="*/ 323850 w 1231900"/>
                <a:gd name="connsiteY30" fmla="*/ 603250 h 698500"/>
                <a:gd name="connsiteX31" fmla="*/ 298450 w 1231900"/>
                <a:gd name="connsiteY31" fmla="*/ 615950 h 698500"/>
                <a:gd name="connsiteX32" fmla="*/ 279400 w 1231900"/>
                <a:gd name="connsiteY32" fmla="*/ 628650 h 698500"/>
                <a:gd name="connsiteX33" fmla="*/ 247650 w 1231900"/>
                <a:gd name="connsiteY33" fmla="*/ 635000 h 698500"/>
                <a:gd name="connsiteX34" fmla="*/ 222250 w 1231900"/>
                <a:gd name="connsiteY34" fmla="*/ 641350 h 698500"/>
                <a:gd name="connsiteX35" fmla="*/ 190500 w 1231900"/>
                <a:gd name="connsiteY35" fmla="*/ 654050 h 698500"/>
                <a:gd name="connsiteX36" fmla="*/ 139700 w 1231900"/>
                <a:gd name="connsiteY36" fmla="*/ 660400 h 698500"/>
                <a:gd name="connsiteX37" fmla="*/ 107950 w 1231900"/>
                <a:gd name="connsiteY37" fmla="*/ 666750 h 698500"/>
                <a:gd name="connsiteX38" fmla="*/ 82550 w 1231900"/>
                <a:gd name="connsiteY38" fmla="*/ 692150 h 698500"/>
                <a:gd name="connsiteX39" fmla="*/ 57150 w 1231900"/>
                <a:gd name="connsiteY39" fmla="*/ 698500 h 698500"/>
                <a:gd name="connsiteX40" fmla="*/ 12700 w 1231900"/>
                <a:gd name="connsiteY40" fmla="*/ 679450 h 698500"/>
                <a:gd name="connsiteX41" fmla="*/ 0 w 1231900"/>
                <a:gd name="connsiteY41" fmla="*/ 679450 h 69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231900" h="698500">
                  <a:moveTo>
                    <a:pt x="1231900" y="0"/>
                  </a:moveTo>
                  <a:cubicBezTo>
                    <a:pt x="1221317" y="2117"/>
                    <a:pt x="1210796" y="4576"/>
                    <a:pt x="1200150" y="6350"/>
                  </a:cubicBezTo>
                  <a:cubicBezTo>
                    <a:pt x="1185387" y="8811"/>
                    <a:pt x="1170220" y="9070"/>
                    <a:pt x="1155700" y="12700"/>
                  </a:cubicBezTo>
                  <a:cubicBezTo>
                    <a:pt x="1144642" y="15465"/>
                    <a:pt x="1134533" y="21167"/>
                    <a:pt x="1123950" y="25400"/>
                  </a:cubicBezTo>
                  <a:cubicBezTo>
                    <a:pt x="1120530" y="45922"/>
                    <a:pt x="1122262" y="67669"/>
                    <a:pt x="1104900" y="82550"/>
                  </a:cubicBezTo>
                  <a:cubicBezTo>
                    <a:pt x="1095529" y="90582"/>
                    <a:pt x="1083733" y="95250"/>
                    <a:pt x="1073150" y="101600"/>
                  </a:cubicBezTo>
                  <a:cubicBezTo>
                    <a:pt x="1071632" y="110710"/>
                    <a:pt x="1070334" y="150633"/>
                    <a:pt x="1054100" y="158750"/>
                  </a:cubicBezTo>
                  <a:cubicBezTo>
                    <a:pt x="1042584" y="164508"/>
                    <a:pt x="1028491" y="161977"/>
                    <a:pt x="1016000" y="165100"/>
                  </a:cubicBezTo>
                  <a:cubicBezTo>
                    <a:pt x="1003013" y="168347"/>
                    <a:pt x="977900" y="177800"/>
                    <a:pt x="977900" y="177800"/>
                  </a:cubicBezTo>
                  <a:cubicBezTo>
                    <a:pt x="975783" y="184150"/>
                    <a:pt x="975263" y="191281"/>
                    <a:pt x="971550" y="196850"/>
                  </a:cubicBezTo>
                  <a:cubicBezTo>
                    <a:pt x="950744" y="228058"/>
                    <a:pt x="956878" y="205172"/>
                    <a:pt x="933450" y="228600"/>
                  </a:cubicBezTo>
                  <a:cubicBezTo>
                    <a:pt x="925966" y="236084"/>
                    <a:pt x="922310" y="246969"/>
                    <a:pt x="914400" y="254000"/>
                  </a:cubicBezTo>
                  <a:cubicBezTo>
                    <a:pt x="902992" y="264141"/>
                    <a:pt x="890195" y="273084"/>
                    <a:pt x="876300" y="279400"/>
                  </a:cubicBezTo>
                  <a:cubicBezTo>
                    <a:pt x="866474" y="283866"/>
                    <a:pt x="855086" y="283409"/>
                    <a:pt x="844550" y="285750"/>
                  </a:cubicBezTo>
                  <a:cubicBezTo>
                    <a:pt x="836031" y="287643"/>
                    <a:pt x="827617" y="289983"/>
                    <a:pt x="819150" y="292100"/>
                  </a:cubicBezTo>
                  <a:cubicBezTo>
                    <a:pt x="806450" y="300567"/>
                    <a:pt x="794702" y="310674"/>
                    <a:pt x="781050" y="317500"/>
                  </a:cubicBezTo>
                  <a:cubicBezTo>
                    <a:pt x="772583" y="321733"/>
                    <a:pt x="763353" y="324698"/>
                    <a:pt x="755650" y="330200"/>
                  </a:cubicBezTo>
                  <a:cubicBezTo>
                    <a:pt x="748342" y="335420"/>
                    <a:pt x="743418" y="343406"/>
                    <a:pt x="736600" y="349250"/>
                  </a:cubicBezTo>
                  <a:cubicBezTo>
                    <a:pt x="695113" y="384810"/>
                    <a:pt x="725170" y="349673"/>
                    <a:pt x="692150" y="393700"/>
                  </a:cubicBezTo>
                  <a:cubicBezTo>
                    <a:pt x="690033" y="400050"/>
                    <a:pt x="689981" y="407523"/>
                    <a:pt x="685800" y="412750"/>
                  </a:cubicBezTo>
                  <a:cubicBezTo>
                    <a:pt x="681032" y="418709"/>
                    <a:pt x="673376" y="421664"/>
                    <a:pt x="666750" y="425450"/>
                  </a:cubicBezTo>
                  <a:cubicBezTo>
                    <a:pt x="658531" y="430146"/>
                    <a:pt x="649569" y="433454"/>
                    <a:pt x="641350" y="438150"/>
                  </a:cubicBezTo>
                  <a:cubicBezTo>
                    <a:pt x="634724" y="441936"/>
                    <a:pt x="629446" y="448170"/>
                    <a:pt x="622300" y="450850"/>
                  </a:cubicBezTo>
                  <a:cubicBezTo>
                    <a:pt x="612194" y="454640"/>
                    <a:pt x="601133" y="455083"/>
                    <a:pt x="590550" y="457200"/>
                  </a:cubicBezTo>
                  <a:cubicBezTo>
                    <a:pt x="556966" y="479589"/>
                    <a:pt x="567543" y="469485"/>
                    <a:pt x="533400" y="520700"/>
                  </a:cubicBezTo>
                  <a:cubicBezTo>
                    <a:pt x="529167" y="527050"/>
                    <a:pt x="527172" y="535705"/>
                    <a:pt x="520700" y="539750"/>
                  </a:cubicBezTo>
                  <a:cubicBezTo>
                    <a:pt x="509348" y="546845"/>
                    <a:pt x="494833" y="547013"/>
                    <a:pt x="482600" y="552450"/>
                  </a:cubicBezTo>
                  <a:cubicBezTo>
                    <a:pt x="429027" y="576260"/>
                    <a:pt x="511247" y="557200"/>
                    <a:pt x="425450" y="571500"/>
                  </a:cubicBezTo>
                  <a:cubicBezTo>
                    <a:pt x="416983" y="575733"/>
                    <a:pt x="408751" y="580471"/>
                    <a:pt x="400050" y="584200"/>
                  </a:cubicBezTo>
                  <a:cubicBezTo>
                    <a:pt x="393898" y="586837"/>
                    <a:pt x="387436" y="588711"/>
                    <a:pt x="381000" y="590550"/>
                  </a:cubicBezTo>
                  <a:cubicBezTo>
                    <a:pt x="360075" y="596528"/>
                    <a:pt x="345674" y="598885"/>
                    <a:pt x="323850" y="603250"/>
                  </a:cubicBezTo>
                  <a:cubicBezTo>
                    <a:pt x="315383" y="607483"/>
                    <a:pt x="306669" y="611254"/>
                    <a:pt x="298450" y="615950"/>
                  </a:cubicBezTo>
                  <a:cubicBezTo>
                    <a:pt x="291824" y="619736"/>
                    <a:pt x="286546" y="625970"/>
                    <a:pt x="279400" y="628650"/>
                  </a:cubicBezTo>
                  <a:cubicBezTo>
                    <a:pt x="269294" y="632440"/>
                    <a:pt x="258186" y="632659"/>
                    <a:pt x="247650" y="635000"/>
                  </a:cubicBezTo>
                  <a:cubicBezTo>
                    <a:pt x="239131" y="636893"/>
                    <a:pt x="230529" y="638590"/>
                    <a:pt x="222250" y="641350"/>
                  </a:cubicBezTo>
                  <a:cubicBezTo>
                    <a:pt x="211436" y="644955"/>
                    <a:pt x="201607" y="651487"/>
                    <a:pt x="190500" y="654050"/>
                  </a:cubicBezTo>
                  <a:cubicBezTo>
                    <a:pt x="173872" y="657887"/>
                    <a:pt x="156567" y="657805"/>
                    <a:pt x="139700" y="660400"/>
                  </a:cubicBezTo>
                  <a:cubicBezTo>
                    <a:pt x="129033" y="662041"/>
                    <a:pt x="118533" y="664633"/>
                    <a:pt x="107950" y="666750"/>
                  </a:cubicBezTo>
                  <a:cubicBezTo>
                    <a:pt x="99483" y="675217"/>
                    <a:pt x="92704" y="685804"/>
                    <a:pt x="82550" y="692150"/>
                  </a:cubicBezTo>
                  <a:cubicBezTo>
                    <a:pt x="75149" y="696775"/>
                    <a:pt x="65877" y="698500"/>
                    <a:pt x="57150" y="698500"/>
                  </a:cubicBezTo>
                  <a:cubicBezTo>
                    <a:pt x="46053" y="698500"/>
                    <a:pt x="20139" y="681930"/>
                    <a:pt x="12700" y="679450"/>
                  </a:cubicBezTo>
                  <a:cubicBezTo>
                    <a:pt x="8684" y="678111"/>
                    <a:pt x="4233" y="679450"/>
                    <a:pt x="0" y="679450"/>
                  </a:cubicBezTo>
                </a:path>
              </a:pathLst>
            </a:cu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0D5F610-6C9D-B760-A399-3E5431931B18}"/>
                </a:ext>
              </a:extLst>
            </p:cNvPr>
            <p:cNvSpPr/>
            <p:nvPr/>
          </p:nvSpPr>
          <p:spPr bwMode="gray">
            <a:xfrm>
              <a:off x="7009387" y="3235150"/>
              <a:ext cx="561790" cy="1017943"/>
            </a:xfrm>
            <a:custGeom>
              <a:avLst/>
              <a:gdLst>
                <a:gd name="connsiteX0" fmla="*/ 0 w 742950"/>
                <a:gd name="connsiteY0" fmla="*/ 0 h 1346200"/>
                <a:gd name="connsiteX1" fmla="*/ 31750 w 742950"/>
                <a:gd name="connsiteY1" fmla="*/ 12700 h 1346200"/>
                <a:gd name="connsiteX2" fmla="*/ 50800 w 742950"/>
                <a:gd name="connsiteY2" fmla="*/ 25400 h 1346200"/>
                <a:gd name="connsiteX3" fmla="*/ 107950 w 742950"/>
                <a:gd name="connsiteY3" fmla="*/ 38100 h 1346200"/>
                <a:gd name="connsiteX4" fmla="*/ 120650 w 742950"/>
                <a:gd name="connsiteY4" fmla="*/ 63500 h 1346200"/>
                <a:gd name="connsiteX5" fmla="*/ 152400 w 742950"/>
                <a:gd name="connsiteY5" fmla="*/ 101600 h 1346200"/>
                <a:gd name="connsiteX6" fmla="*/ 139700 w 742950"/>
                <a:gd name="connsiteY6" fmla="*/ 127000 h 1346200"/>
                <a:gd name="connsiteX7" fmla="*/ 120650 w 742950"/>
                <a:gd name="connsiteY7" fmla="*/ 133350 h 1346200"/>
                <a:gd name="connsiteX8" fmla="*/ 95250 w 742950"/>
                <a:gd name="connsiteY8" fmla="*/ 146050 h 1346200"/>
                <a:gd name="connsiteX9" fmla="*/ 82550 w 742950"/>
                <a:gd name="connsiteY9" fmla="*/ 165100 h 1346200"/>
                <a:gd name="connsiteX10" fmla="*/ 82550 w 742950"/>
                <a:gd name="connsiteY10" fmla="*/ 273050 h 1346200"/>
                <a:gd name="connsiteX11" fmla="*/ 88900 w 742950"/>
                <a:gd name="connsiteY11" fmla="*/ 298450 h 1346200"/>
                <a:gd name="connsiteX12" fmla="*/ 107950 w 742950"/>
                <a:gd name="connsiteY12" fmla="*/ 311150 h 1346200"/>
                <a:gd name="connsiteX13" fmla="*/ 120650 w 742950"/>
                <a:gd name="connsiteY13" fmla="*/ 361950 h 1346200"/>
                <a:gd name="connsiteX14" fmla="*/ 127000 w 742950"/>
                <a:gd name="connsiteY14" fmla="*/ 482600 h 1346200"/>
                <a:gd name="connsiteX15" fmla="*/ 133350 w 742950"/>
                <a:gd name="connsiteY15" fmla="*/ 501650 h 1346200"/>
                <a:gd name="connsiteX16" fmla="*/ 158750 w 742950"/>
                <a:gd name="connsiteY16" fmla="*/ 552450 h 1346200"/>
                <a:gd name="connsiteX17" fmla="*/ 184150 w 742950"/>
                <a:gd name="connsiteY17" fmla="*/ 596900 h 1346200"/>
                <a:gd name="connsiteX18" fmla="*/ 228600 w 742950"/>
                <a:gd name="connsiteY18" fmla="*/ 641350 h 1346200"/>
                <a:gd name="connsiteX19" fmla="*/ 260350 w 742950"/>
                <a:gd name="connsiteY19" fmla="*/ 679450 h 1346200"/>
                <a:gd name="connsiteX20" fmla="*/ 323850 w 742950"/>
                <a:gd name="connsiteY20" fmla="*/ 742950 h 1346200"/>
                <a:gd name="connsiteX21" fmla="*/ 374650 w 742950"/>
                <a:gd name="connsiteY21" fmla="*/ 749300 h 1346200"/>
                <a:gd name="connsiteX22" fmla="*/ 419100 w 742950"/>
                <a:gd name="connsiteY22" fmla="*/ 812800 h 1346200"/>
                <a:gd name="connsiteX23" fmla="*/ 425450 w 742950"/>
                <a:gd name="connsiteY23" fmla="*/ 831850 h 1346200"/>
                <a:gd name="connsiteX24" fmla="*/ 463550 w 742950"/>
                <a:gd name="connsiteY24" fmla="*/ 869950 h 1346200"/>
                <a:gd name="connsiteX25" fmla="*/ 501650 w 742950"/>
                <a:gd name="connsiteY25" fmla="*/ 920750 h 1346200"/>
                <a:gd name="connsiteX26" fmla="*/ 520700 w 742950"/>
                <a:gd name="connsiteY26" fmla="*/ 946150 h 1346200"/>
                <a:gd name="connsiteX27" fmla="*/ 577850 w 742950"/>
                <a:gd name="connsiteY27" fmla="*/ 990600 h 1346200"/>
                <a:gd name="connsiteX28" fmla="*/ 609600 w 742950"/>
                <a:gd name="connsiteY28" fmla="*/ 1047750 h 1346200"/>
                <a:gd name="connsiteX29" fmla="*/ 628650 w 742950"/>
                <a:gd name="connsiteY29" fmla="*/ 1066800 h 1346200"/>
                <a:gd name="connsiteX30" fmla="*/ 647700 w 742950"/>
                <a:gd name="connsiteY30" fmla="*/ 1117600 h 1346200"/>
                <a:gd name="connsiteX31" fmla="*/ 654050 w 742950"/>
                <a:gd name="connsiteY31" fmla="*/ 1136650 h 1346200"/>
                <a:gd name="connsiteX32" fmla="*/ 666750 w 742950"/>
                <a:gd name="connsiteY32" fmla="*/ 1155700 h 1346200"/>
                <a:gd name="connsiteX33" fmla="*/ 698500 w 742950"/>
                <a:gd name="connsiteY33" fmla="*/ 1206500 h 1346200"/>
                <a:gd name="connsiteX34" fmla="*/ 723900 w 742950"/>
                <a:gd name="connsiteY34" fmla="*/ 1257300 h 1346200"/>
                <a:gd name="connsiteX35" fmla="*/ 730250 w 742950"/>
                <a:gd name="connsiteY35" fmla="*/ 1276350 h 1346200"/>
                <a:gd name="connsiteX36" fmla="*/ 742950 w 742950"/>
                <a:gd name="connsiteY36" fmla="*/ 1295400 h 1346200"/>
                <a:gd name="connsiteX37" fmla="*/ 736600 w 742950"/>
                <a:gd name="connsiteY37" fmla="*/ 1327150 h 1346200"/>
                <a:gd name="connsiteX38" fmla="*/ 723900 w 742950"/>
                <a:gd name="connsiteY38" fmla="*/ 1346200 h 134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42950" h="1346200">
                  <a:moveTo>
                    <a:pt x="0" y="0"/>
                  </a:moveTo>
                  <a:cubicBezTo>
                    <a:pt x="10583" y="4233"/>
                    <a:pt x="21555" y="7602"/>
                    <a:pt x="31750" y="12700"/>
                  </a:cubicBezTo>
                  <a:cubicBezTo>
                    <a:pt x="38576" y="16113"/>
                    <a:pt x="43974" y="21987"/>
                    <a:pt x="50800" y="25400"/>
                  </a:cubicBezTo>
                  <a:cubicBezTo>
                    <a:pt x="66432" y="33216"/>
                    <a:pt x="93317" y="35661"/>
                    <a:pt x="107950" y="38100"/>
                  </a:cubicBezTo>
                  <a:cubicBezTo>
                    <a:pt x="112183" y="46567"/>
                    <a:pt x="114490" y="56313"/>
                    <a:pt x="120650" y="63500"/>
                  </a:cubicBezTo>
                  <a:cubicBezTo>
                    <a:pt x="158395" y="107535"/>
                    <a:pt x="138283" y="59248"/>
                    <a:pt x="152400" y="101600"/>
                  </a:cubicBezTo>
                  <a:cubicBezTo>
                    <a:pt x="148167" y="110067"/>
                    <a:pt x="146393" y="120307"/>
                    <a:pt x="139700" y="127000"/>
                  </a:cubicBezTo>
                  <a:cubicBezTo>
                    <a:pt x="134967" y="131733"/>
                    <a:pt x="126802" y="130713"/>
                    <a:pt x="120650" y="133350"/>
                  </a:cubicBezTo>
                  <a:cubicBezTo>
                    <a:pt x="111949" y="137079"/>
                    <a:pt x="103717" y="141817"/>
                    <a:pt x="95250" y="146050"/>
                  </a:cubicBezTo>
                  <a:cubicBezTo>
                    <a:pt x="91017" y="152400"/>
                    <a:pt x="85556" y="158085"/>
                    <a:pt x="82550" y="165100"/>
                  </a:cubicBezTo>
                  <a:cubicBezTo>
                    <a:pt x="68422" y="198066"/>
                    <a:pt x="78961" y="242540"/>
                    <a:pt x="82550" y="273050"/>
                  </a:cubicBezTo>
                  <a:cubicBezTo>
                    <a:pt x="83570" y="281717"/>
                    <a:pt x="84059" y="291188"/>
                    <a:pt x="88900" y="298450"/>
                  </a:cubicBezTo>
                  <a:cubicBezTo>
                    <a:pt x="93133" y="304800"/>
                    <a:pt x="101600" y="306917"/>
                    <a:pt x="107950" y="311150"/>
                  </a:cubicBezTo>
                  <a:cubicBezTo>
                    <a:pt x="114017" y="329351"/>
                    <a:pt x="118947" y="341516"/>
                    <a:pt x="120650" y="361950"/>
                  </a:cubicBezTo>
                  <a:cubicBezTo>
                    <a:pt x="123994" y="402083"/>
                    <a:pt x="123354" y="442493"/>
                    <a:pt x="127000" y="482600"/>
                  </a:cubicBezTo>
                  <a:cubicBezTo>
                    <a:pt x="127606" y="489266"/>
                    <a:pt x="131000" y="495383"/>
                    <a:pt x="133350" y="501650"/>
                  </a:cubicBezTo>
                  <a:cubicBezTo>
                    <a:pt x="153809" y="556206"/>
                    <a:pt x="136430" y="513390"/>
                    <a:pt x="158750" y="552450"/>
                  </a:cubicBezTo>
                  <a:cubicBezTo>
                    <a:pt x="167615" y="567964"/>
                    <a:pt x="172042" y="583447"/>
                    <a:pt x="184150" y="596900"/>
                  </a:cubicBezTo>
                  <a:cubicBezTo>
                    <a:pt x="198167" y="612475"/>
                    <a:pt x="216977" y="623915"/>
                    <a:pt x="228600" y="641350"/>
                  </a:cubicBezTo>
                  <a:cubicBezTo>
                    <a:pt x="253207" y="678260"/>
                    <a:pt x="227755" y="642780"/>
                    <a:pt x="260350" y="679450"/>
                  </a:cubicBezTo>
                  <a:cubicBezTo>
                    <a:pt x="274310" y="695155"/>
                    <a:pt x="300889" y="734119"/>
                    <a:pt x="323850" y="742950"/>
                  </a:cubicBezTo>
                  <a:cubicBezTo>
                    <a:pt x="339778" y="749076"/>
                    <a:pt x="357717" y="747183"/>
                    <a:pt x="374650" y="749300"/>
                  </a:cubicBezTo>
                  <a:cubicBezTo>
                    <a:pt x="389467" y="770467"/>
                    <a:pt x="410930" y="788289"/>
                    <a:pt x="419100" y="812800"/>
                  </a:cubicBezTo>
                  <a:cubicBezTo>
                    <a:pt x="421217" y="819150"/>
                    <a:pt x="421341" y="826566"/>
                    <a:pt x="425450" y="831850"/>
                  </a:cubicBezTo>
                  <a:cubicBezTo>
                    <a:pt x="436477" y="846027"/>
                    <a:pt x="455518" y="853886"/>
                    <a:pt x="463550" y="869950"/>
                  </a:cubicBezTo>
                  <a:cubicBezTo>
                    <a:pt x="485833" y="914517"/>
                    <a:pt x="464208" y="877959"/>
                    <a:pt x="501650" y="920750"/>
                  </a:cubicBezTo>
                  <a:cubicBezTo>
                    <a:pt x="508619" y="928715"/>
                    <a:pt x="512898" y="938999"/>
                    <a:pt x="520700" y="946150"/>
                  </a:cubicBezTo>
                  <a:cubicBezTo>
                    <a:pt x="538490" y="962458"/>
                    <a:pt x="577850" y="990600"/>
                    <a:pt x="577850" y="990600"/>
                  </a:cubicBezTo>
                  <a:cubicBezTo>
                    <a:pt x="586897" y="1008693"/>
                    <a:pt x="597640" y="1031803"/>
                    <a:pt x="609600" y="1047750"/>
                  </a:cubicBezTo>
                  <a:cubicBezTo>
                    <a:pt x="614988" y="1054934"/>
                    <a:pt x="622300" y="1060450"/>
                    <a:pt x="628650" y="1066800"/>
                  </a:cubicBezTo>
                  <a:cubicBezTo>
                    <a:pt x="643063" y="1110040"/>
                    <a:pt x="624921" y="1056856"/>
                    <a:pt x="647700" y="1117600"/>
                  </a:cubicBezTo>
                  <a:cubicBezTo>
                    <a:pt x="650050" y="1123867"/>
                    <a:pt x="651057" y="1130663"/>
                    <a:pt x="654050" y="1136650"/>
                  </a:cubicBezTo>
                  <a:cubicBezTo>
                    <a:pt x="657463" y="1143476"/>
                    <a:pt x="662705" y="1149228"/>
                    <a:pt x="666750" y="1155700"/>
                  </a:cubicBezTo>
                  <a:cubicBezTo>
                    <a:pt x="705044" y="1216971"/>
                    <a:pt x="669482" y="1162973"/>
                    <a:pt x="698500" y="1206500"/>
                  </a:cubicBezTo>
                  <a:cubicBezTo>
                    <a:pt x="711126" y="1257002"/>
                    <a:pt x="695116" y="1206928"/>
                    <a:pt x="723900" y="1257300"/>
                  </a:cubicBezTo>
                  <a:cubicBezTo>
                    <a:pt x="727221" y="1263112"/>
                    <a:pt x="727257" y="1270363"/>
                    <a:pt x="730250" y="1276350"/>
                  </a:cubicBezTo>
                  <a:cubicBezTo>
                    <a:pt x="733663" y="1283176"/>
                    <a:pt x="738717" y="1289050"/>
                    <a:pt x="742950" y="1295400"/>
                  </a:cubicBezTo>
                  <a:cubicBezTo>
                    <a:pt x="740833" y="1305983"/>
                    <a:pt x="740390" y="1317044"/>
                    <a:pt x="736600" y="1327150"/>
                  </a:cubicBezTo>
                  <a:cubicBezTo>
                    <a:pt x="733920" y="1334296"/>
                    <a:pt x="723900" y="1346200"/>
                    <a:pt x="723900" y="134620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/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25488B5-91D7-919D-034F-68449D981D97}"/>
                </a:ext>
              </a:extLst>
            </p:cNvPr>
            <p:cNvSpPr/>
            <p:nvPr/>
          </p:nvSpPr>
          <p:spPr bwMode="gray">
            <a:xfrm>
              <a:off x="8104050" y="3105507"/>
              <a:ext cx="159310" cy="432145"/>
            </a:xfrm>
            <a:custGeom>
              <a:avLst/>
              <a:gdLst>
                <a:gd name="connsiteX0" fmla="*/ 190642 w 210682"/>
                <a:gd name="connsiteY0" fmla="*/ 571500 h 571500"/>
                <a:gd name="connsiteX1" fmla="*/ 190642 w 210682"/>
                <a:gd name="connsiteY1" fmla="*/ 400050 h 571500"/>
                <a:gd name="connsiteX2" fmla="*/ 165242 w 210682"/>
                <a:gd name="connsiteY2" fmla="*/ 368300 h 571500"/>
                <a:gd name="connsiteX3" fmla="*/ 152542 w 210682"/>
                <a:gd name="connsiteY3" fmla="*/ 330200 h 571500"/>
                <a:gd name="connsiteX4" fmla="*/ 133492 w 210682"/>
                <a:gd name="connsiteY4" fmla="*/ 304800 h 571500"/>
                <a:gd name="connsiteX5" fmla="*/ 120792 w 210682"/>
                <a:gd name="connsiteY5" fmla="*/ 279400 h 571500"/>
                <a:gd name="connsiteX6" fmla="*/ 108092 w 210682"/>
                <a:gd name="connsiteY6" fmla="*/ 260350 h 571500"/>
                <a:gd name="connsiteX7" fmla="*/ 101742 w 210682"/>
                <a:gd name="connsiteY7" fmla="*/ 184150 h 571500"/>
                <a:gd name="connsiteX8" fmla="*/ 76342 w 210682"/>
                <a:gd name="connsiteY8" fmla="*/ 158750 h 571500"/>
                <a:gd name="connsiteX9" fmla="*/ 63642 w 210682"/>
                <a:gd name="connsiteY9" fmla="*/ 139700 h 571500"/>
                <a:gd name="connsiteX10" fmla="*/ 25542 w 210682"/>
                <a:gd name="connsiteY10" fmla="*/ 101600 h 571500"/>
                <a:gd name="connsiteX11" fmla="*/ 19192 w 210682"/>
                <a:gd name="connsiteY11" fmla="*/ 82550 h 571500"/>
                <a:gd name="connsiteX12" fmla="*/ 6492 w 210682"/>
                <a:gd name="connsiteY12" fmla="*/ 57150 h 571500"/>
                <a:gd name="connsiteX13" fmla="*/ 142 w 210682"/>
                <a:gd name="connsiteY13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0682" h="571500">
                  <a:moveTo>
                    <a:pt x="190642" y="571500"/>
                  </a:moveTo>
                  <a:cubicBezTo>
                    <a:pt x="217599" y="504107"/>
                    <a:pt x="217125" y="519224"/>
                    <a:pt x="190642" y="400050"/>
                  </a:cubicBezTo>
                  <a:cubicBezTo>
                    <a:pt x="187702" y="386819"/>
                    <a:pt x="173709" y="378883"/>
                    <a:pt x="165242" y="368300"/>
                  </a:cubicBezTo>
                  <a:cubicBezTo>
                    <a:pt x="161009" y="355600"/>
                    <a:pt x="160574" y="340910"/>
                    <a:pt x="152542" y="330200"/>
                  </a:cubicBezTo>
                  <a:cubicBezTo>
                    <a:pt x="146192" y="321733"/>
                    <a:pt x="139101" y="313775"/>
                    <a:pt x="133492" y="304800"/>
                  </a:cubicBezTo>
                  <a:cubicBezTo>
                    <a:pt x="128475" y="296773"/>
                    <a:pt x="125488" y="287619"/>
                    <a:pt x="120792" y="279400"/>
                  </a:cubicBezTo>
                  <a:cubicBezTo>
                    <a:pt x="117006" y="272774"/>
                    <a:pt x="112325" y="266700"/>
                    <a:pt x="108092" y="260350"/>
                  </a:cubicBezTo>
                  <a:cubicBezTo>
                    <a:pt x="105975" y="234950"/>
                    <a:pt x="109344" y="208478"/>
                    <a:pt x="101742" y="184150"/>
                  </a:cubicBezTo>
                  <a:cubicBezTo>
                    <a:pt x="98171" y="172721"/>
                    <a:pt x="84134" y="167841"/>
                    <a:pt x="76342" y="158750"/>
                  </a:cubicBezTo>
                  <a:cubicBezTo>
                    <a:pt x="71375" y="152956"/>
                    <a:pt x="69038" y="145096"/>
                    <a:pt x="63642" y="139700"/>
                  </a:cubicBezTo>
                  <a:cubicBezTo>
                    <a:pt x="7930" y="83988"/>
                    <a:pt x="87800" y="184611"/>
                    <a:pt x="25542" y="101600"/>
                  </a:cubicBezTo>
                  <a:cubicBezTo>
                    <a:pt x="23425" y="95250"/>
                    <a:pt x="21829" y="88702"/>
                    <a:pt x="19192" y="82550"/>
                  </a:cubicBezTo>
                  <a:cubicBezTo>
                    <a:pt x="15463" y="73849"/>
                    <a:pt x="9485" y="66130"/>
                    <a:pt x="6492" y="57150"/>
                  </a:cubicBezTo>
                  <a:cubicBezTo>
                    <a:pt x="-1518" y="33119"/>
                    <a:pt x="142" y="23625"/>
                    <a:pt x="142" y="0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6C9E8E5-0B47-4345-5409-525CCF1B05AA}"/>
                </a:ext>
              </a:extLst>
            </p:cNvPr>
            <p:cNvSpPr/>
            <p:nvPr/>
          </p:nvSpPr>
          <p:spPr bwMode="gray">
            <a:xfrm>
              <a:off x="7739234" y="3528049"/>
              <a:ext cx="528178" cy="768259"/>
            </a:xfrm>
            <a:custGeom>
              <a:avLst/>
              <a:gdLst>
                <a:gd name="connsiteX0" fmla="*/ 0 w 698500"/>
                <a:gd name="connsiteY0" fmla="*/ 1016000 h 1016000"/>
                <a:gd name="connsiteX1" fmla="*/ 63500 w 698500"/>
                <a:gd name="connsiteY1" fmla="*/ 952500 h 1016000"/>
                <a:gd name="connsiteX2" fmla="*/ 82550 w 698500"/>
                <a:gd name="connsiteY2" fmla="*/ 939800 h 1016000"/>
                <a:gd name="connsiteX3" fmla="*/ 107950 w 698500"/>
                <a:gd name="connsiteY3" fmla="*/ 920750 h 1016000"/>
                <a:gd name="connsiteX4" fmla="*/ 120650 w 698500"/>
                <a:gd name="connsiteY4" fmla="*/ 901700 h 1016000"/>
                <a:gd name="connsiteX5" fmla="*/ 133350 w 698500"/>
                <a:gd name="connsiteY5" fmla="*/ 819150 h 1016000"/>
                <a:gd name="connsiteX6" fmla="*/ 177800 w 698500"/>
                <a:gd name="connsiteY6" fmla="*/ 774700 h 1016000"/>
                <a:gd name="connsiteX7" fmla="*/ 209550 w 698500"/>
                <a:gd name="connsiteY7" fmla="*/ 730250 h 1016000"/>
                <a:gd name="connsiteX8" fmla="*/ 228600 w 698500"/>
                <a:gd name="connsiteY8" fmla="*/ 711200 h 1016000"/>
                <a:gd name="connsiteX9" fmla="*/ 260350 w 698500"/>
                <a:gd name="connsiteY9" fmla="*/ 692150 h 1016000"/>
                <a:gd name="connsiteX10" fmla="*/ 279400 w 698500"/>
                <a:gd name="connsiteY10" fmla="*/ 679450 h 1016000"/>
                <a:gd name="connsiteX11" fmla="*/ 317500 w 698500"/>
                <a:gd name="connsiteY11" fmla="*/ 666750 h 1016000"/>
                <a:gd name="connsiteX12" fmla="*/ 349250 w 698500"/>
                <a:gd name="connsiteY12" fmla="*/ 641350 h 1016000"/>
                <a:gd name="connsiteX13" fmla="*/ 361950 w 698500"/>
                <a:gd name="connsiteY13" fmla="*/ 603250 h 1016000"/>
                <a:gd name="connsiteX14" fmla="*/ 387350 w 698500"/>
                <a:gd name="connsiteY14" fmla="*/ 463550 h 1016000"/>
                <a:gd name="connsiteX15" fmla="*/ 412750 w 698500"/>
                <a:gd name="connsiteY15" fmla="*/ 438150 h 1016000"/>
                <a:gd name="connsiteX16" fmla="*/ 444500 w 698500"/>
                <a:gd name="connsiteY16" fmla="*/ 412750 h 1016000"/>
                <a:gd name="connsiteX17" fmla="*/ 450850 w 698500"/>
                <a:gd name="connsiteY17" fmla="*/ 387350 h 1016000"/>
                <a:gd name="connsiteX18" fmla="*/ 457200 w 698500"/>
                <a:gd name="connsiteY18" fmla="*/ 368300 h 1016000"/>
                <a:gd name="connsiteX19" fmla="*/ 463550 w 698500"/>
                <a:gd name="connsiteY19" fmla="*/ 273050 h 1016000"/>
                <a:gd name="connsiteX20" fmla="*/ 482600 w 698500"/>
                <a:gd name="connsiteY20" fmla="*/ 241300 h 1016000"/>
                <a:gd name="connsiteX21" fmla="*/ 539750 w 698500"/>
                <a:gd name="connsiteY21" fmla="*/ 171450 h 1016000"/>
                <a:gd name="connsiteX22" fmla="*/ 571500 w 698500"/>
                <a:gd name="connsiteY22" fmla="*/ 120650 h 1016000"/>
                <a:gd name="connsiteX23" fmla="*/ 603250 w 698500"/>
                <a:gd name="connsiteY23" fmla="*/ 88900 h 1016000"/>
                <a:gd name="connsiteX24" fmla="*/ 622300 w 698500"/>
                <a:gd name="connsiteY24" fmla="*/ 63500 h 1016000"/>
                <a:gd name="connsiteX25" fmla="*/ 641350 w 698500"/>
                <a:gd name="connsiteY25" fmla="*/ 50800 h 1016000"/>
                <a:gd name="connsiteX26" fmla="*/ 698500 w 698500"/>
                <a:gd name="connsiteY26" fmla="*/ 0 h 10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98500" h="1016000">
                  <a:moveTo>
                    <a:pt x="0" y="1016000"/>
                  </a:moveTo>
                  <a:cubicBezTo>
                    <a:pt x="77802" y="953758"/>
                    <a:pt x="-17353" y="1033353"/>
                    <a:pt x="63500" y="952500"/>
                  </a:cubicBezTo>
                  <a:cubicBezTo>
                    <a:pt x="68896" y="947104"/>
                    <a:pt x="76340" y="944236"/>
                    <a:pt x="82550" y="939800"/>
                  </a:cubicBezTo>
                  <a:cubicBezTo>
                    <a:pt x="91162" y="933649"/>
                    <a:pt x="100466" y="928234"/>
                    <a:pt x="107950" y="920750"/>
                  </a:cubicBezTo>
                  <a:cubicBezTo>
                    <a:pt x="113346" y="915354"/>
                    <a:pt x="116417" y="908050"/>
                    <a:pt x="120650" y="901700"/>
                  </a:cubicBezTo>
                  <a:cubicBezTo>
                    <a:pt x="124883" y="874183"/>
                    <a:pt x="124546" y="845562"/>
                    <a:pt x="133350" y="819150"/>
                  </a:cubicBezTo>
                  <a:cubicBezTo>
                    <a:pt x="146097" y="780908"/>
                    <a:pt x="157282" y="795218"/>
                    <a:pt x="177800" y="774700"/>
                  </a:cubicBezTo>
                  <a:cubicBezTo>
                    <a:pt x="200676" y="751824"/>
                    <a:pt x="191522" y="751883"/>
                    <a:pt x="209550" y="730250"/>
                  </a:cubicBezTo>
                  <a:cubicBezTo>
                    <a:pt x="215299" y="723351"/>
                    <a:pt x="221416" y="716588"/>
                    <a:pt x="228600" y="711200"/>
                  </a:cubicBezTo>
                  <a:cubicBezTo>
                    <a:pt x="238474" y="703795"/>
                    <a:pt x="249884" y="698691"/>
                    <a:pt x="260350" y="692150"/>
                  </a:cubicBezTo>
                  <a:cubicBezTo>
                    <a:pt x="266822" y="688105"/>
                    <a:pt x="272426" y="682550"/>
                    <a:pt x="279400" y="679450"/>
                  </a:cubicBezTo>
                  <a:cubicBezTo>
                    <a:pt x="291633" y="674013"/>
                    <a:pt x="317500" y="666750"/>
                    <a:pt x="317500" y="666750"/>
                  </a:cubicBezTo>
                  <a:cubicBezTo>
                    <a:pt x="328083" y="658283"/>
                    <a:pt x="341478" y="652453"/>
                    <a:pt x="349250" y="641350"/>
                  </a:cubicBezTo>
                  <a:cubicBezTo>
                    <a:pt x="356927" y="630383"/>
                    <a:pt x="361950" y="603250"/>
                    <a:pt x="361950" y="603250"/>
                  </a:cubicBezTo>
                  <a:cubicBezTo>
                    <a:pt x="368003" y="545748"/>
                    <a:pt x="353624" y="502897"/>
                    <a:pt x="387350" y="463550"/>
                  </a:cubicBezTo>
                  <a:cubicBezTo>
                    <a:pt x="395142" y="454459"/>
                    <a:pt x="403801" y="446105"/>
                    <a:pt x="412750" y="438150"/>
                  </a:cubicBezTo>
                  <a:cubicBezTo>
                    <a:pt x="422880" y="429146"/>
                    <a:pt x="433917" y="421217"/>
                    <a:pt x="444500" y="412750"/>
                  </a:cubicBezTo>
                  <a:cubicBezTo>
                    <a:pt x="446617" y="404283"/>
                    <a:pt x="448452" y="395741"/>
                    <a:pt x="450850" y="387350"/>
                  </a:cubicBezTo>
                  <a:cubicBezTo>
                    <a:pt x="452689" y="380914"/>
                    <a:pt x="456461" y="374953"/>
                    <a:pt x="457200" y="368300"/>
                  </a:cubicBezTo>
                  <a:cubicBezTo>
                    <a:pt x="460714" y="336674"/>
                    <a:pt x="457309" y="304253"/>
                    <a:pt x="463550" y="273050"/>
                  </a:cubicBezTo>
                  <a:cubicBezTo>
                    <a:pt x="465971" y="260947"/>
                    <a:pt x="475974" y="251713"/>
                    <a:pt x="482600" y="241300"/>
                  </a:cubicBezTo>
                  <a:cubicBezTo>
                    <a:pt x="525147" y="174440"/>
                    <a:pt x="488534" y="229982"/>
                    <a:pt x="539750" y="171450"/>
                  </a:cubicBezTo>
                  <a:cubicBezTo>
                    <a:pt x="549393" y="160429"/>
                    <a:pt x="564539" y="129352"/>
                    <a:pt x="571500" y="120650"/>
                  </a:cubicBezTo>
                  <a:cubicBezTo>
                    <a:pt x="580850" y="108963"/>
                    <a:pt x="593306" y="100087"/>
                    <a:pt x="603250" y="88900"/>
                  </a:cubicBezTo>
                  <a:cubicBezTo>
                    <a:pt x="610281" y="80990"/>
                    <a:pt x="614816" y="70984"/>
                    <a:pt x="622300" y="63500"/>
                  </a:cubicBezTo>
                  <a:cubicBezTo>
                    <a:pt x="627696" y="58104"/>
                    <a:pt x="635178" y="55289"/>
                    <a:pt x="641350" y="50800"/>
                  </a:cubicBezTo>
                  <a:cubicBezTo>
                    <a:pt x="694962" y="11810"/>
                    <a:pt x="682902" y="31196"/>
                    <a:pt x="698500" y="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34F5761-536F-F2B7-3EFE-6C347D209A32}"/>
                </a:ext>
              </a:extLst>
            </p:cNvPr>
            <p:cNvSpPr/>
            <p:nvPr/>
          </p:nvSpPr>
          <p:spPr bwMode="gray">
            <a:xfrm>
              <a:off x="7724828" y="4219483"/>
              <a:ext cx="1190803" cy="100834"/>
            </a:xfrm>
            <a:custGeom>
              <a:avLst/>
              <a:gdLst>
                <a:gd name="connsiteX0" fmla="*/ 1574800 w 1574800"/>
                <a:gd name="connsiteY0" fmla="*/ 0 h 133350"/>
                <a:gd name="connsiteX1" fmla="*/ 1543050 w 1574800"/>
                <a:gd name="connsiteY1" fmla="*/ 57150 h 133350"/>
                <a:gd name="connsiteX2" fmla="*/ 1504950 w 1574800"/>
                <a:gd name="connsiteY2" fmla="*/ 82550 h 133350"/>
                <a:gd name="connsiteX3" fmla="*/ 1282700 w 1574800"/>
                <a:gd name="connsiteY3" fmla="*/ 76200 h 133350"/>
                <a:gd name="connsiteX4" fmla="*/ 1168400 w 1574800"/>
                <a:gd name="connsiteY4" fmla="*/ 82550 h 133350"/>
                <a:gd name="connsiteX5" fmla="*/ 1136650 w 1574800"/>
                <a:gd name="connsiteY5" fmla="*/ 88900 h 133350"/>
                <a:gd name="connsiteX6" fmla="*/ 952500 w 1574800"/>
                <a:gd name="connsiteY6" fmla="*/ 95250 h 133350"/>
                <a:gd name="connsiteX7" fmla="*/ 635000 w 1574800"/>
                <a:gd name="connsiteY7" fmla="*/ 101600 h 133350"/>
                <a:gd name="connsiteX8" fmla="*/ 292100 w 1574800"/>
                <a:gd name="connsiteY8" fmla="*/ 88900 h 133350"/>
                <a:gd name="connsiteX9" fmla="*/ 107950 w 1574800"/>
                <a:gd name="connsiteY9" fmla="*/ 95250 h 133350"/>
                <a:gd name="connsiteX10" fmla="*/ 69850 w 1574800"/>
                <a:gd name="connsiteY10" fmla="*/ 107950 h 133350"/>
                <a:gd name="connsiteX11" fmla="*/ 19050 w 1574800"/>
                <a:gd name="connsiteY11" fmla="*/ 120650 h 133350"/>
                <a:gd name="connsiteX12" fmla="*/ 0 w 1574800"/>
                <a:gd name="connsiteY12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4800" h="133350">
                  <a:moveTo>
                    <a:pt x="1574800" y="0"/>
                  </a:moveTo>
                  <a:cubicBezTo>
                    <a:pt x="1565861" y="22346"/>
                    <a:pt x="1561797" y="40486"/>
                    <a:pt x="1543050" y="57150"/>
                  </a:cubicBezTo>
                  <a:cubicBezTo>
                    <a:pt x="1531642" y="67291"/>
                    <a:pt x="1504950" y="82550"/>
                    <a:pt x="1504950" y="82550"/>
                  </a:cubicBezTo>
                  <a:cubicBezTo>
                    <a:pt x="1430867" y="80433"/>
                    <a:pt x="1356814" y="76200"/>
                    <a:pt x="1282700" y="76200"/>
                  </a:cubicBezTo>
                  <a:cubicBezTo>
                    <a:pt x="1244541" y="76200"/>
                    <a:pt x="1206415" y="79244"/>
                    <a:pt x="1168400" y="82550"/>
                  </a:cubicBezTo>
                  <a:cubicBezTo>
                    <a:pt x="1157648" y="83485"/>
                    <a:pt x="1147424" y="88266"/>
                    <a:pt x="1136650" y="88900"/>
                  </a:cubicBezTo>
                  <a:cubicBezTo>
                    <a:pt x="1075336" y="92507"/>
                    <a:pt x="1013883" y="93133"/>
                    <a:pt x="952500" y="95250"/>
                  </a:cubicBezTo>
                  <a:cubicBezTo>
                    <a:pt x="815430" y="129518"/>
                    <a:pt x="919150" y="108365"/>
                    <a:pt x="635000" y="101600"/>
                  </a:cubicBezTo>
                  <a:cubicBezTo>
                    <a:pt x="504944" y="75589"/>
                    <a:pt x="581190" y="88900"/>
                    <a:pt x="292100" y="88900"/>
                  </a:cubicBezTo>
                  <a:cubicBezTo>
                    <a:pt x="230680" y="88900"/>
                    <a:pt x="169333" y="93133"/>
                    <a:pt x="107950" y="95250"/>
                  </a:cubicBezTo>
                  <a:cubicBezTo>
                    <a:pt x="95250" y="99483"/>
                    <a:pt x="82765" y="104428"/>
                    <a:pt x="69850" y="107950"/>
                  </a:cubicBezTo>
                  <a:cubicBezTo>
                    <a:pt x="53909" y="112297"/>
                    <a:pt x="34464" y="112943"/>
                    <a:pt x="19050" y="120650"/>
                  </a:cubicBezTo>
                  <a:cubicBezTo>
                    <a:pt x="12224" y="124063"/>
                    <a:pt x="6350" y="129117"/>
                    <a:pt x="0" y="133350"/>
                  </a:cubicBezTo>
                </a:path>
              </a:pathLst>
            </a:cu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2C24E83-E02F-D679-A301-BEA163111040}"/>
                </a:ext>
              </a:extLst>
            </p:cNvPr>
            <p:cNvSpPr/>
            <p:nvPr/>
          </p:nvSpPr>
          <p:spPr bwMode="gray">
            <a:xfrm>
              <a:off x="7599986" y="4421150"/>
              <a:ext cx="139247" cy="100834"/>
            </a:xfrm>
            <a:custGeom>
              <a:avLst/>
              <a:gdLst>
                <a:gd name="connsiteX0" fmla="*/ 0 w 184150"/>
                <a:gd name="connsiteY0" fmla="*/ 0 h 133350"/>
                <a:gd name="connsiteX1" fmla="*/ 31750 w 184150"/>
                <a:gd name="connsiteY1" fmla="*/ 31750 h 133350"/>
                <a:gd name="connsiteX2" fmla="*/ 50800 w 184150"/>
                <a:gd name="connsiteY2" fmla="*/ 44450 h 133350"/>
                <a:gd name="connsiteX3" fmla="*/ 69850 w 184150"/>
                <a:gd name="connsiteY3" fmla="*/ 63500 h 133350"/>
                <a:gd name="connsiteX4" fmla="*/ 95250 w 184150"/>
                <a:gd name="connsiteY4" fmla="*/ 76200 h 133350"/>
                <a:gd name="connsiteX5" fmla="*/ 120650 w 184150"/>
                <a:gd name="connsiteY5" fmla="*/ 95250 h 133350"/>
                <a:gd name="connsiteX6" fmla="*/ 139700 w 184150"/>
                <a:gd name="connsiteY6" fmla="*/ 107950 h 133350"/>
                <a:gd name="connsiteX7" fmla="*/ 184150 w 184150"/>
                <a:gd name="connsiteY7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150" h="133350">
                  <a:moveTo>
                    <a:pt x="0" y="0"/>
                  </a:moveTo>
                  <a:cubicBezTo>
                    <a:pt x="10583" y="10583"/>
                    <a:pt x="20486" y="21894"/>
                    <a:pt x="31750" y="31750"/>
                  </a:cubicBezTo>
                  <a:cubicBezTo>
                    <a:pt x="37493" y="36776"/>
                    <a:pt x="44937" y="39564"/>
                    <a:pt x="50800" y="44450"/>
                  </a:cubicBezTo>
                  <a:cubicBezTo>
                    <a:pt x="57699" y="50199"/>
                    <a:pt x="62542" y="58280"/>
                    <a:pt x="69850" y="63500"/>
                  </a:cubicBezTo>
                  <a:cubicBezTo>
                    <a:pt x="77553" y="69002"/>
                    <a:pt x="87223" y="71183"/>
                    <a:pt x="95250" y="76200"/>
                  </a:cubicBezTo>
                  <a:cubicBezTo>
                    <a:pt x="104225" y="81809"/>
                    <a:pt x="112038" y="89099"/>
                    <a:pt x="120650" y="95250"/>
                  </a:cubicBezTo>
                  <a:cubicBezTo>
                    <a:pt x="126860" y="99686"/>
                    <a:pt x="132726" y="104850"/>
                    <a:pt x="139700" y="107950"/>
                  </a:cubicBezTo>
                  <a:cubicBezTo>
                    <a:pt x="185332" y="128231"/>
                    <a:pt x="170738" y="106525"/>
                    <a:pt x="184150" y="133350"/>
                  </a:cubicBezTo>
                </a:path>
              </a:pathLst>
            </a:custGeom>
            <a:solidFill>
              <a:srgbClr val="E7E6E6"/>
            </a:solidFill>
            <a:ln w="12700" algn="ctr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B437533-6D2B-ECC1-3408-233F5E44201F}"/>
                </a:ext>
              </a:extLst>
            </p:cNvPr>
            <p:cNvSpPr/>
            <p:nvPr/>
          </p:nvSpPr>
          <p:spPr bwMode="gray">
            <a:xfrm>
              <a:off x="7734432" y="4521985"/>
              <a:ext cx="595401" cy="610171"/>
            </a:xfrm>
            <a:custGeom>
              <a:avLst/>
              <a:gdLst>
                <a:gd name="connsiteX0" fmla="*/ 0 w 787400"/>
                <a:gd name="connsiteY0" fmla="*/ 0 h 806934"/>
                <a:gd name="connsiteX1" fmla="*/ 25400 w 787400"/>
                <a:gd name="connsiteY1" fmla="*/ 50800 h 806934"/>
                <a:gd name="connsiteX2" fmla="*/ 31750 w 787400"/>
                <a:gd name="connsiteY2" fmla="*/ 82550 h 806934"/>
                <a:gd name="connsiteX3" fmla="*/ 120650 w 787400"/>
                <a:gd name="connsiteY3" fmla="*/ 107950 h 806934"/>
                <a:gd name="connsiteX4" fmla="*/ 165100 w 787400"/>
                <a:gd name="connsiteY4" fmla="*/ 196850 h 806934"/>
                <a:gd name="connsiteX5" fmla="*/ 177800 w 787400"/>
                <a:gd name="connsiteY5" fmla="*/ 215900 h 806934"/>
                <a:gd name="connsiteX6" fmla="*/ 196850 w 787400"/>
                <a:gd name="connsiteY6" fmla="*/ 254000 h 806934"/>
                <a:gd name="connsiteX7" fmla="*/ 228600 w 787400"/>
                <a:gd name="connsiteY7" fmla="*/ 273050 h 806934"/>
                <a:gd name="connsiteX8" fmla="*/ 247650 w 787400"/>
                <a:gd name="connsiteY8" fmla="*/ 292100 h 806934"/>
                <a:gd name="connsiteX9" fmla="*/ 266700 w 787400"/>
                <a:gd name="connsiteY9" fmla="*/ 298450 h 806934"/>
                <a:gd name="connsiteX10" fmla="*/ 311150 w 787400"/>
                <a:gd name="connsiteY10" fmla="*/ 323850 h 806934"/>
                <a:gd name="connsiteX11" fmla="*/ 361950 w 787400"/>
                <a:gd name="connsiteY11" fmla="*/ 330200 h 806934"/>
                <a:gd name="connsiteX12" fmla="*/ 406400 w 787400"/>
                <a:gd name="connsiteY12" fmla="*/ 387350 h 806934"/>
                <a:gd name="connsiteX13" fmla="*/ 444500 w 787400"/>
                <a:gd name="connsiteY13" fmla="*/ 431800 h 806934"/>
                <a:gd name="connsiteX14" fmla="*/ 450850 w 787400"/>
                <a:gd name="connsiteY14" fmla="*/ 463550 h 806934"/>
                <a:gd name="connsiteX15" fmla="*/ 469900 w 787400"/>
                <a:gd name="connsiteY15" fmla="*/ 482600 h 806934"/>
                <a:gd name="connsiteX16" fmla="*/ 577850 w 787400"/>
                <a:gd name="connsiteY16" fmla="*/ 508000 h 806934"/>
                <a:gd name="connsiteX17" fmla="*/ 584200 w 787400"/>
                <a:gd name="connsiteY17" fmla="*/ 558800 h 806934"/>
                <a:gd name="connsiteX18" fmla="*/ 622300 w 787400"/>
                <a:gd name="connsiteY18" fmla="*/ 590550 h 806934"/>
                <a:gd name="connsiteX19" fmla="*/ 647700 w 787400"/>
                <a:gd name="connsiteY19" fmla="*/ 615950 h 806934"/>
                <a:gd name="connsiteX20" fmla="*/ 673100 w 787400"/>
                <a:gd name="connsiteY20" fmla="*/ 666750 h 806934"/>
                <a:gd name="connsiteX21" fmla="*/ 692150 w 787400"/>
                <a:gd name="connsiteY21" fmla="*/ 692150 h 806934"/>
                <a:gd name="connsiteX22" fmla="*/ 698500 w 787400"/>
                <a:gd name="connsiteY22" fmla="*/ 711200 h 806934"/>
                <a:gd name="connsiteX23" fmla="*/ 704850 w 787400"/>
                <a:gd name="connsiteY23" fmla="*/ 736600 h 806934"/>
                <a:gd name="connsiteX24" fmla="*/ 717550 w 787400"/>
                <a:gd name="connsiteY24" fmla="*/ 768350 h 806934"/>
                <a:gd name="connsiteX25" fmla="*/ 755650 w 787400"/>
                <a:gd name="connsiteY25" fmla="*/ 787400 h 806934"/>
                <a:gd name="connsiteX26" fmla="*/ 787400 w 787400"/>
                <a:gd name="connsiteY26" fmla="*/ 806450 h 8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87400" h="806934">
                  <a:moveTo>
                    <a:pt x="0" y="0"/>
                  </a:moveTo>
                  <a:cubicBezTo>
                    <a:pt x="14391" y="23986"/>
                    <a:pt x="19541" y="27365"/>
                    <a:pt x="25400" y="50800"/>
                  </a:cubicBezTo>
                  <a:cubicBezTo>
                    <a:pt x="28018" y="61271"/>
                    <a:pt x="23683" y="75380"/>
                    <a:pt x="31750" y="82550"/>
                  </a:cubicBezTo>
                  <a:cubicBezTo>
                    <a:pt x="49881" y="98667"/>
                    <a:pt x="96552" y="103934"/>
                    <a:pt x="120650" y="107950"/>
                  </a:cubicBezTo>
                  <a:cubicBezTo>
                    <a:pt x="132723" y="156241"/>
                    <a:pt x="123257" y="128855"/>
                    <a:pt x="165100" y="196850"/>
                  </a:cubicBezTo>
                  <a:cubicBezTo>
                    <a:pt x="169100" y="203350"/>
                    <a:pt x="174387" y="209074"/>
                    <a:pt x="177800" y="215900"/>
                  </a:cubicBezTo>
                  <a:cubicBezTo>
                    <a:pt x="186134" y="232568"/>
                    <a:pt x="180927" y="240351"/>
                    <a:pt x="196850" y="254000"/>
                  </a:cubicBezTo>
                  <a:cubicBezTo>
                    <a:pt x="206221" y="262032"/>
                    <a:pt x="218726" y="265645"/>
                    <a:pt x="228600" y="273050"/>
                  </a:cubicBezTo>
                  <a:cubicBezTo>
                    <a:pt x="235784" y="278438"/>
                    <a:pt x="240178" y="287119"/>
                    <a:pt x="247650" y="292100"/>
                  </a:cubicBezTo>
                  <a:cubicBezTo>
                    <a:pt x="253219" y="295813"/>
                    <a:pt x="260713" y="295457"/>
                    <a:pt x="266700" y="298450"/>
                  </a:cubicBezTo>
                  <a:cubicBezTo>
                    <a:pt x="285596" y="307898"/>
                    <a:pt x="288885" y="318284"/>
                    <a:pt x="311150" y="323850"/>
                  </a:cubicBezTo>
                  <a:cubicBezTo>
                    <a:pt x="327706" y="327989"/>
                    <a:pt x="345017" y="328083"/>
                    <a:pt x="361950" y="330200"/>
                  </a:cubicBezTo>
                  <a:cubicBezTo>
                    <a:pt x="426147" y="426495"/>
                    <a:pt x="356662" y="327664"/>
                    <a:pt x="406400" y="387350"/>
                  </a:cubicBezTo>
                  <a:cubicBezTo>
                    <a:pt x="454754" y="445375"/>
                    <a:pt x="368185" y="355485"/>
                    <a:pt x="444500" y="431800"/>
                  </a:cubicBezTo>
                  <a:cubicBezTo>
                    <a:pt x="446617" y="442383"/>
                    <a:pt x="446023" y="453897"/>
                    <a:pt x="450850" y="463550"/>
                  </a:cubicBezTo>
                  <a:cubicBezTo>
                    <a:pt x="454866" y="471582"/>
                    <a:pt x="462592" y="477380"/>
                    <a:pt x="469900" y="482600"/>
                  </a:cubicBezTo>
                  <a:cubicBezTo>
                    <a:pt x="500968" y="504792"/>
                    <a:pt x="542509" y="502563"/>
                    <a:pt x="577850" y="508000"/>
                  </a:cubicBezTo>
                  <a:cubicBezTo>
                    <a:pt x="579967" y="524933"/>
                    <a:pt x="579710" y="542336"/>
                    <a:pt x="584200" y="558800"/>
                  </a:cubicBezTo>
                  <a:cubicBezTo>
                    <a:pt x="591043" y="583891"/>
                    <a:pt x="603852" y="576714"/>
                    <a:pt x="622300" y="590550"/>
                  </a:cubicBezTo>
                  <a:cubicBezTo>
                    <a:pt x="631879" y="597734"/>
                    <a:pt x="641058" y="605987"/>
                    <a:pt x="647700" y="615950"/>
                  </a:cubicBezTo>
                  <a:cubicBezTo>
                    <a:pt x="658202" y="631702"/>
                    <a:pt x="661741" y="651604"/>
                    <a:pt x="673100" y="666750"/>
                  </a:cubicBezTo>
                  <a:lnTo>
                    <a:pt x="692150" y="692150"/>
                  </a:lnTo>
                  <a:cubicBezTo>
                    <a:pt x="694267" y="698500"/>
                    <a:pt x="696661" y="704764"/>
                    <a:pt x="698500" y="711200"/>
                  </a:cubicBezTo>
                  <a:cubicBezTo>
                    <a:pt x="700898" y="719591"/>
                    <a:pt x="702090" y="728321"/>
                    <a:pt x="704850" y="736600"/>
                  </a:cubicBezTo>
                  <a:cubicBezTo>
                    <a:pt x="708455" y="747414"/>
                    <a:pt x="710925" y="759075"/>
                    <a:pt x="717550" y="768350"/>
                  </a:cubicBezTo>
                  <a:cubicBezTo>
                    <a:pt x="725244" y="779121"/>
                    <a:pt x="744205" y="783585"/>
                    <a:pt x="755650" y="787400"/>
                  </a:cubicBezTo>
                  <a:cubicBezTo>
                    <a:pt x="771872" y="811734"/>
                    <a:pt x="760718" y="806450"/>
                    <a:pt x="787400" y="80645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>
                <a:defRPr/>
              </a:pPr>
              <a:endParaRPr lang="cs-CZ" sz="140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A1114710-1D5A-F4C7-11BF-4EEE7C373B13}"/>
                </a:ext>
              </a:extLst>
            </p:cNvPr>
            <p:cNvSpPr/>
            <p:nvPr/>
          </p:nvSpPr>
          <p:spPr bwMode="gray">
            <a:xfrm>
              <a:off x="6994982" y="4243490"/>
              <a:ext cx="422542" cy="129644"/>
            </a:xfrm>
            <a:custGeom>
              <a:avLst/>
              <a:gdLst>
                <a:gd name="connsiteX0" fmla="*/ 0 w 558800"/>
                <a:gd name="connsiteY0" fmla="*/ 0 h 171450"/>
                <a:gd name="connsiteX1" fmla="*/ 31750 w 558800"/>
                <a:gd name="connsiteY1" fmla="*/ 19050 h 171450"/>
                <a:gd name="connsiteX2" fmla="*/ 82550 w 558800"/>
                <a:gd name="connsiteY2" fmla="*/ 25400 h 171450"/>
                <a:gd name="connsiteX3" fmla="*/ 139700 w 558800"/>
                <a:gd name="connsiteY3" fmla="*/ 38100 h 171450"/>
                <a:gd name="connsiteX4" fmla="*/ 177800 w 558800"/>
                <a:gd name="connsiteY4" fmla="*/ 44450 h 171450"/>
                <a:gd name="connsiteX5" fmla="*/ 196850 w 558800"/>
                <a:gd name="connsiteY5" fmla="*/ 63500 h 171450"/>
                <a:gd name="connsiteX6" fmla="*/ 203200 w 558800"/>
                <a:gd name="connsiteY6" fmla="*/ 88900 h 171450"/>
                <a:gd name="connsiteX7" fmla="*/ 234950 w 558800"/>
                <a:gd name="connsiteY7" fmla="*/ 101600 h 171450"/>
                <a:gd name="connsiteX8" fmla="*/ 374650 w 558800"/>
                <a:gd name="connsiteY8" fmla="*/ 114300 h 171450"/>
                <a:gd name="connsiteX9" fmla="*/ 438150 w 558800"/>
                <a:gd name="connsiteY9" fmla="*/ 127000 h 171450"/>
                <a:gd name="connsiteX10" fmla="*/ 508000 w 558800"/>
                <a:gd name="connsiteY10" fmla="*/ 146050 h 171450"/>
                <a:gd name="connsiteX11" fmla="*/ 520700 w 558800"/>
                <a:gd name="connsiteY11" fmla="*/ 165100 h 171450"/>
                <a:gd name="connsiteX12" fmla="*/ 558800 w 558800"/>
                <a:gd name="connsiteY12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8800" h="171450">
                  <a:moveTo>
                    <a:pt x="0" y="0"/>
                  </a:moveTo>
                  <a:cubicBezTo>
                    <a:pt x="10583" y="6350"/>
                    <a:pt x="19954" y="15420"/>
                    <a:pt x="31750" y="19050"/>
                  </a:cubicBezTo>
                  <a:cubicBezTo>
                    <a:pt x="48060" y="24069"/>
                    <a:pt x="65683" y="22805"/>
                    <a:pt x="82550" y="25400"/>
                  </a:cubicBezTo>
                  <a:cubicBezTo>
                    <a:pt x="130608" y="32794"/>
                    <a:pt x="97563" y="29673"/>
                    <a:pt x="139700" y="38100"/>
                  </a:cubicBezTo>
                  <a:cubicBezTo>
                    <a:pt x="152325" y="40625"/>
                    <a:pt x="165100" y="42333"/>
                    <a:pt x="177800" y="44450"/>
                  </a:cubicBezTo>
                  <a:cubicBezTo>
                    <a:pt x="184150" y="50800"/>
                    <a:pt x="192395" y="55703"/>
                    <a:pt x="196850" y="63500"/>
                  </a:cubicBezTo>
                  <a:cubicBezTo>
                    <a:pt x="201180" y="71077"/>
                    <a:pt x="197029" y="82729"/>
                    <a:pt x="203200" y="88900"/>
                  </a:cubicBezTo>
                  <a:cubicBezTo>
                    <a:pt x="211260" y="96960"/>
                    <a:pt x="223674" y="99930"/>
                    <a:pt x="234950" y="101600"/>
                  </a:cubicBezTo>
                  <a:cubicBezTo>
                    <a:pt x="281204" y="108452"/>
                    <a:pt x="328083" y="110067"/>
                    <a:pt x="374650" y="114300"/>
                  </a:cubicBezTo>
                  <a:cubicBezTo>
                    <a:pt x="395817" y="118533"/>
                    <a:pt x="417209" y="121765"/>
                    <a:pt x="438150" y="127000"/>
                  </a:cubicBezTo>
                  <a:cubicBezTo>
                    <a:pt x="567054" y="159226"/>
                    <a:pt x="398169" y="124084"/>
                    <a:pt x="508000" y="146050"/>
                  </a:cubicBezTo>
                  <a:cubicBezTo>
                    <a:pt x="512233" y="152400"/>
                    <a:pt x="513874" y="161687"/>
                    <a:pt x="520700" y="165100"/>
                  </a:cubicBezTo>
                  <a:cubicBezTo>
                    <a:pt x="532216" y="170858"/>
                    <a:pt x="558800" y="171450"/>
                    <a:pt x="558800" y="171450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75ACA37-5796-BE8E-EAC6-1845F0AA120F}"/>
                </a:ext>
              </a:extLst>
            </p:cNvPr>
            <p:cNvSpPr/>
            <p:nvPr/>
          </p:nvSpPr>
          <p:spPr bwMode="gray">
            <a:xfrm>
              <a:off x="7209500" y="4155118"/>
              <a:ext cx="182471" cy="235279"/>
            </a:xfrm>
            <a:custGeom>
              <a:avLst/>
              <a:gdLst>
                <a:gd name="connsiteX0" fmla="*/ 0 w 241312"/>
                <a:gd name="connsiteY0" fmla="*/ 0 h 311150"/>
                <a:gd name="connsiteX1" fmla="*/ 31750 w 241312"/>
                <a:gd name="connsiteY1" fmla="*/ 12700 h 311150"/>
                <a:gd name="connsiteX2" fmla="*/ 50800 w 241312"/>
                <a:gd name="connsiteY2" fmla="*/ 31750 h 311150"/>
                <a:gd name="connsiteX3" fmla="*/ 76200 w 241312"/>
                <a:gd name="connsiteY3" fmla="*/ 38100 h 311150"/>
                <a:gd name="connsiteX4" fmla="*/ 95250 w 241312"/>
                <a:gd name="connsiteY4" fmla="*/ 44450 h 311150"/>
                <a:gd name="connsiteX5" fmla="*/ 127000 w 241312"/>
                <a:gd name="connsiteY5" fmla="*/ 95250 h 311150"/>
                <a:gd name="connsiteX6" fmla="*/ 139700 w 241312"/>
                <a:gd name="connsiteY6" fmla="*/ 114300 h 311150"/>
                <a:gd name="connsiteX7" fmla="*/ 158750 w 241312"/>
                <a:gd name="connsiteY7" fmla="*/ 165100 h 311150"/>
                <a:gd name="connsiteX8" fmla="*/ 209550 w 241312"/>
                <a:gd name="connsiteY8" fmla="*/ 209550 h 311150"/>
                <a:gd name="connsiteX9" fmla="*/ 228600 w 241312"/>
                <a:gd name="connsiteY9" fmla="*/ 234950 h 311150"/>
                <a:gd name="connsiteX10" fmla="*/ 234950 w 241312"/>
                <a:gd name="connsiteY10" fmla="*/ 254000 h 311150"/>
                <a:gd name="connsiteX11" fmla="*/ 241300 w 241312"/>
                <a:gd name="connsiteY11" fmla="*/ 311150 h 31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12" h="311150">
                  <a:moveTo>
                    <a:pt x="0" y="0"/>
                  </a:moveTo>
                  <a:cubicBezTo>
                    <a:pt x="10583" y="4233"/>
                    <a:pt x="22084" y="6659"/>
                    <a:pt x="31750" y="12700"/>
                  </a:cubicBezTo>
                  <a:cubicBezTo>
                    <a:pt x="39365" y="17460"/>
                    <a:pt x="43003" y="27295"/>
                    <a:pt x="50800" y="31750"/>
                  </a:cubicBezTo>
                  <a:cubicBezTo>
                    <a:pt x="58377" y="36080"/>
                    <a:pt x="67809" y="35702"/>
                    <a:pt x="76200" y="38100"/>
                  </a:cubicBezTo>
                  <a:cubicBezTo>
                    <a:pt x="82636" y="39939"/>
                    <a:pt x="88900" y="42333"/>
                    <a:pt x="95250" y="44450"/>
                  </a:cubicBezTo>
                  <a:cubicBezTo>
                    <a:pt x="131674" y="93015"/>
                    <a:pt x="99107" y="46438"/>
                    <a:pt x="127000" y="95250"/>
                  </a:cubicBezTo>
                  <a:cubicBezTo>
                    <a:pt x="130786" y="101876"/>
                    <a:pt x="136287" y="107474"/>
                    <a:pt x="139700" y="114300"/>
                  </a:cubicBezTo>
                  <a:cubicBezTo>
                    <a:pt x="151729" y="138357"/>
                    <a:pt x="140032" y="137023"/>
                    <a:pt x="158750" y="165100"/>
                  </a:cubicBezTo>
                  <a:cubicBezTo>
                    <a:pt x="178537" y="194781"/>
                    <a:pt x="186147" y="186147"/>
                    <a:pt x="209550" y="209550"/>
                  </a:cubicBezTo>
                  <a:cubicBezTo>
                    <a:pt x="217034" y="217034"/>
                    <a:pt x="222250" y="226483"/>
                    <a:pt x="228600" y="234950"/>
                  </a:cubicBezTo>
                  <a:cubicBezTo>
                    <a:pt x="230717" y="241300"/>
                    <a:pt x="233637" y="247436"/>
                    <a:pt x="234950" y="254000"/>
                  </a:cubicBezTo>
                  <a:cubicBezTo>
                    <a:pt x="241899" y="288743"/>
                    <a:pt x="241300" y="287414"/>
                    <a:pt x="241300" y="311150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459CF7F-0EC8-1637-0D83-C27160F6DD21}"/>
                </a:ext>
              </a:extLst>
            </p:cNvPr>
            <p:cNvSpPr/>
            <p:nvPr/>
          </p:nvSpPr>
          <p:spPr bwMode="gray">
            <a:xfrm>
              <a:off x="7388287" y="4377935"/>
              <a:ext cx="346145" cy="187474"/>
            </a:xfrm>
            <a:custGeom>
              <a:avLst/>
              <a:gdLst>
                <a:gd name="connsiteX0" fmla="*/ 6916 w 457766"/>
                <a:gd name="connsiteY0" fmla="*/ 0 h 247928"/>
                <a:gd name="connsiteX1" fmla="*/ 6916 w 457766"/>
                <a:gd name="connsiteY1" fmla="*/ 88900 h 247928"/>
                <a:gd name="connsiteX2" fmla="*/ 89466 w 457766"/>
                <a:gd name="connsiteY2" fmla="*/ 107950 h 247928"/>
                <a:gd name="connsiteX3" fmla="*/ 102166 w 457766"/>
                <a:gd name="connsiteY3" fmla="*/ 133350 h 247928"/>
                <a:gd name="connsiteX4" fmla="*/ 127566 w 457766"/>
                <a:gd name="connsiteY4" fmla="*/ 177800 h 247928"/>
                <a:gd name="connsiteX5" fmla="*/ 197416 w 457766"/>
                <a:gd name="connsiteY5" fmla="*/ 184150 h 247928"/>
                <a:gd name="connsiteX6" fmla="*/ 248216 w 457766"/>
                <a:gd name="connsiteY6" fmla="*/ 209550 h 247928"/>
                <a:gd name="connsiteX7" fmla="*/ 292666 w 457766"/>
                <a:gd name="connsiteY7" fmla="*/ 228600 h 247928"/>
                <a:gd name="connsiteX8" fmla="*/ 311716 w 457766"/>
                <a:gd name="connsiteY8" fmla="*/ 241300 h 247928"/>
                <a:gd name="connsiteX9" fmla="*/ 375216 w 457766"/>
                <a:gd name="connsiteY9" fmla="*/ 241300 h 247928"/>
                <a:gd name="connsiteX10" fmla="*/ 419666 w 457766"/>
                <a:gd name="connsiteY10" fmla="*/ 222250 h 247928"/>
                <a:gd name="connsiteX11" fmla="*/ 457766 w 457766"/>
                <a:gd name="connsiteY11" fmla="*/ 196850 h 247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7766" h="247928">
                  <a:moveTo>
                    <a:pt x="6916" y="0"/>
                  </a:moveTo>
                  <a:cubicBezTo>
                    <a:pt x="3928" y="20918"/>
                    <a:pt x="-7029" y="67982"/>
                    <a:pt x="6916" y="88900"/>
                  </a:cubicBezTo>
                  <a:cubicBezTo>
                    <a:pt x="16435" y="103178"/>
                    <a:pt x="84359" y="107312"/>
                    <a:pt x="89466" y="107950"/>
                  </a:cubicBezTo>
                  <a:cubicBezTo>
                    <a:pt x="93699" y="116417"/>
                    <a:pt x="99173" y="124370"/>
                    <a:pt x="102166" y="133350"/>
                  </a:cubicBezTo>
                  <a:cubicBezTo>
                    <a:pt x="109209" y="154479"/>
                    <a:pt x="100104" y="171915"/>
                    <a:pt x="127566" y="177800"/>
                  </a:cubicBezTo>
                  <a:cubicBezTo>
                    <a:pt x="150426" y="182699"/>
                    <a:pt x="174133" y="182033"/>
                    <a:pt x="197416" y="184150"/>
                  </a:cubicBezTo>
                  <a:cubicBezTo>
                    <a:pt x="253827" y="226458"/>
                    <a:pt x="192733" y="185772"/>
                    <a:pt x="248216" y="209550"/>
                  </a:cubicBezTo>
                  <a:cubicBezTo>
                    <a:pt x="309610" y="235862"/>
                    <a:pt x="219744" y="210370"/>
                    <a:pt x="292666" y="228600"/>
                  </a:cubicBezTo>
                  <a:cubicBezTo>
                    <a:pt x="299016" y="232833"/>
                    <a:pt x="304890" y="237887"/>
                    <a:pt x="311716" y="241300"/>
                  </a:cubicBezTo>
                  <a:cubicBezTo>
                    <a:pt x="336345" y="253614"/>
                    <a:pt x="343415" y="245843"/>
                    <a:pt x="375216" y="241300"/>
                  </a:cubicBezTo>
                  <a:cubicBezTo>
                    <a:pt x="394924" y="234731"/>
                    <a:pt x="400049" y="234020"/>
                    <a:pt x="419666" y="222250"/>
                  </a:cubicBezTo>
                  <a:cubicBezTo>
                    <a:pt x="432754" y="214397"/>
                    <a:pt x="457766" y="196850"/>
                    <a:pt x="457766" y="196850"/>
                  </a:cubicBezTo>
                </a:path>
              </a:pathLst>
            </a:cu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3089ABF-4ACD-61FF-53D3-20618B6C9809}"/>
                </a:ext>
              </a:extLst>
            </p:cNvPr>
            <p:cNvSpPr/>
            <p:nvPr/>
          </p:nvSpPr>
          <p:spPr bwMode="gray">
            <a:xfrm>
              <a:off x="5924584" y="4065793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336D92D-3F01-AF31-9BC3-931FA8F2039B}"/>
                </a:ext>
              </a:extLst>
            </p:cNvPr>
            <p:cNvSpPr/>
            <p:nvPr/>
          </p:nvSpPr>
          <p:spPr bwMode="gray">
            <a:xfrm>
              <a:off x="7125077" y="3378701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2A706D2-4FE3-FB1B-89A1-1612AE808AE5}"/>
                </a:ext>
              </a:extLst>
            </p:cNvPr>
            <p:cNvSpPr/>
            <p:nvPr/>
          </p:nvSpPr>
          <p:spPr bwMode="gray">
            <a:xfrm>
              <a:off x="8164536" y="3224389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90DA3AD-F858-B299-9A85-DCA87F604776}"/>
                </a:ext>
              </a:extLst>
            </p:cNvPr>
            <p:cNvSpPr/>
            <p:nvPr/>
          </p:nvSpPr>
          <p:spPr bwMode="gray">
            <a:xfrm>
              <a:off x="8883177" y="4395821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602917-7832-53FF-E428-9466A79FCA11}"/>
                </a:ext>
              </a:extLst>
            </p:cNvPr>
            <p:cNvSpPr/>
            <p:nvPr/>
          </p:nvSpPr>
          <p:spPr bwMode="gray">
            <a:xfrm>
              <a:off x="7507526" y="4330782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33BF664E-38F8-8EDA-259B-1588AC049AB2}"/>
                </a:ext>
              </a:extLst>
            </p:cNvPr>
            <p:cNvSpPr/>
            <p:nvPr/>
          </p:nvSpPr>
          <p:spPr bwMode="gray">
            <a:xfrm>
              <a:off x="5282112" y="4121704"/>
              <a:ext cx="780482" cy="199049"/>
            </a:xfrm>
            <a:custGeom>
              <a:avLst/>
              <a:gdLst>
                <a:gd name="connsiteX0" fmla="*/ 0 w 1032163"/>
                <a:gd name="connsiteY0" fmla="*/ 263236 h 263236"/>
                <a:gd name="connsiteX1" fmla="*/ 34636 w 1032163"/>
                <a:gd name="connsiteY1" fmla="*/ 235527 h 263236"/>
                <a:gd name="connsiteX2" fmla="*/ 83127 w 1032163"/>
                <a:gd name="connsiteY2" fmla="*/ 228600 h 263236"/>
                <a:gd name="connsiteX3" fmla="*/ 110836 w 1032163"/>
                <a:gd name="connsiteY3" fmla="*/ 214745 h 263236"/>
                <a:gd name="connsiteX4" fmla="*/ 200891 w 1032163"/>
                <a:gd name="connsiteY4" fmla="*/ 221673 h 263236"/>
                <a:gd name="connsiteX5" fmla="*/ 284018 w 1032163"/>
                <a:gd name="connsiteY5" fmla="*/ 242454 h 263236"/>
                <a:gd name="connsiteX6" fmla="*/ 346363 w 1032163"/>
                <a:gd name="connsiteY6" fmla="*/ 235527 h 263236"/>
                <a:gd name="connsiteX7" fmla="*/ 429491 w 1032163"/>
                <a:gd name="connsiteY7" fmla="*/ 228600 h 263236"/>
                <a:gd name="connsiteX8" fmla="*/ 484909 w 1032163"/>
                <a:gd name="connsiteY8" fmla="*/ 221673 h 263236"/>
                <a:gd name="connsiteX9" fmla="*/ 505691 w 1032163"/>
                <a:gd name="connsiteY9" fmla="*/ 207818 h 263236"/>
                <a:gd name="connsiteX10" fmla="*/ 547254 w 1032163"/>
                <a:gd name="connsiteY10" fmla="*/ 166254 h 263236"/>
                <a:gd name="connsiteX11" fmla="*/ 609600 w 1032163"/>
                <a:gd name="connsiteY11" fmla="*/ 131618 h 263236"/>
                <a:gd name="connsiteX12" fmla="*/ 630382 w 1032163"/>
                <a:gd name="connsiteY12" fmla="*/ 117764 h 263236"/>
                <a:gd name="connsiteX13" fmla="*/ 665018 w 1032163"/>
                <a:gd name="connsiteY13" fmla="*/ 76200 h 263236"/>
                <a:gd name="connsiteX14" fmla="*/ 692727 w 1032163"/>
                <a:gd name="connsiteY14" fmla="*/ 48491 h 263236"/>
                <a:gd name="connsiteX15" fmla="*/ 713509 w 1032163"/>
                <a:gd name="connsiteY15" fmla="*/ 20782 h 263236"/>
                <a:gd name="connsiteX16" fmla="*/ 748145 w 1032163"/>
                <a:gd name="connsiteY16" fmla="*/ 13854 h 263236"/>
                <a:gd name="connsiteX17" fmla="*/ 831273 w 1032163"/>
                <a:gd name="connsiteY17" fmla="*/ 0 h 263236"/>
                <a:gd name="connsiteX18" fmla="*/ 865909 w 1032163"/>
                <a:gd name="connsiteY18" fmla="*/ 27709 h 263236"/>
                <a:gd name="connsiteX19" fmla="*/ 907473 w 1032163"/>
                <a:gd name="connsiteY19" fmla="*/ 41564 h 263236"/>
                <a:gd name="connsiteX20" fmla="*/ 928254 w 1032163"/>
                <a:gd name="connsiteY20" fmla="*/ 69273 h 263236"/>
                <a:gd name="connsiteX21" fmla="*/ 935182 w 1032163"/>
                <a:gd name="connsiteY21" fmla="*/ 90054 h 263236"/>
                <a:gd name="connsiteX22" fmla="*/ 990600 w 1032163"/>
                <a:gd name="connsiteY22" fmla="*/ 117764 h 263236"/>
                <a:gd name="connsiteX23" fmla="*/ 1032163 w 1032163"/>
                <a:gd name="connsiteY23" fmla="*/ 138545 h 26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32163" h="263236">
                  <a:moveTo>
                    <a:pt x="0" y="263236"/>
                  </a:moveTo>
                  <a:cubicBezTo>
                    <a:pt x="11545" y="254000"/>
                    <a:pt x="20988" y="241214"/>
                    <a:pt x="34636" y="235527"/>
                  </a:cubicBezTo>
                  <a:cubicBezTo>
                    <a:pt x="49708" y="229247"/>
                    <a:pt x="67375" y="232896"/>
                    <a:pt x="83127" y="228600"/>
                  </a:cubicBezTo>
                  <a:cubicBezTo>
                    <a:pt x="93090" y="225883"/>
                    <a:pt x="101600" y="219363"/>
                    <a:pt x="110836" y="214745"/>
                  </a:cubicBezTo>
                  <a:cubicBezTo>
                    <a:pt x="140854" y="217054"/>
                    <a:pt x="171162" y="216916"/>
                    <a:pt x="200891" y="221673"/>
                  </a:cubicBezTo>
                  <a:cubicBezTo>
                    <a:pt x="229094" y="226185"/>
                    <a:pt x="284018" y="242454"/>
                    <a:pt x="284018" y="242454"/>
                  </a:cubicBezTo>
                  <a:lnTo>
                    <a:pt x="346363" y="235527"/>
                  </a:lnTo>
                  <a:cubicBezTo>
                    <a:pt x="374043" y="232891"/>
                    <a:pt x="401824" y="231367"/>
                    <a:pt x="429491" y="228600"/>
                  </a:cubicBezTo>
                  <a:cubicBezTo>
                    <a:pt x="448015" y="226748"/>
                    <a:pt x="466436" y="223982"/>
                    <a:pt x="484909" y="221673"/>
                  </a:cubicBezTo>
                  <a:cubicBezTo>
                    <a:pt x="491836" y="217055"/>
                    <a:pt x="499468" y="213349"/>
                    <a:pt x="505691" y="207818"/>
                  </a:cubicBezTo>
                  <a:cubicBezTo>
                    <a:pt x="520335" y="194801"/>
                    <a:pt x="529729" y="175016"/>
                    <a:pt x="547254" y="166254"/>
                  </a:cubicBezTo>
                  <a:cubicBezTo>
                    <a:pt x="580338" y="149713"/>
                    <a:pt x="574803" y="153366"/>
                    <a:pt x="609600" y="131618"/>
                  </a:cubicBezTo>
                  <a:cubicBezTo>
                    <a:pt x="616660" y="127206"/>
                    <a:pt x="623986" y="123094"/>
                    <a:pt x="630382" y="117764"/>
                  </a:cubicBezTo>
                  <a:cubicBezTo>
                    <a:pt x="666408" y="87742"/>
                    <a:pt x="637776" y="107982"/>
                    <a:pt x="665018" y="76200"/>
                  </a:cubicBezTo>
                  <a:cubicBezTo>
                    <a:pt x="673519" y="66283"/>
                    <a:pt x="684125" y="58321"/>
                    <a:pt x="692727" y="48491"/>
                  </a:cubicBezTo>
                  <a:cubicBezTo>
                    <a:pt x="700330" y="39802"/>
                    <a:pt x="703719" y="26901"/>
                    <a:pt x="713509" y="20782"/>
                  </a:cubicBezTo>
                  <a:cubicBezTo>
                    <a:pt x="723493" y="14542"/>
                    <a:pt x="736550" y="15900"/>
                    <a:pt x="748145" y="13854"/>
                  </a:cubicBezTo>
                  <a:lnTo>
                    <a:pt x="831273" y="0"/>
                  </a:lnTo>
                  <a:cubicBezTo>
                    <a:pt x="842818" y="9236"/>
                    <a:pt x="852929" y="20629"/>
                    <a:pt x="865909" y="27709"/>
                  </a:cubicBezTo>
                  <a:cubicBezTo>
                    <a:pt x="878730" y="34702"/>
                    <a:pt x="895322" y="33463"/>
                    <a:pt x="907473" y="41564"/>
                  </a:cubicBezTo>
                  <a:cubicBezTo>
                    <a:pt x="917079" y="47968"/>
                    <a:pt x="921327" y="60037"/>
                    <a:pt x="928254" y="69273"/>
                  </a:cubicBezTo>
                  <a:cubicBezTo>
                    <a:pt x="930563" y="76200"/>
                    <a:pt x="930507" y="84445"/>
                    <a:pt x="935182" y="90054"/>
                  </a:cubicBezTo>
                  <a:cubicBezTo>
                    <a:pt x="958388" y="117901"/>
                    <a:pt x="961684" y="106920"/>
                    <a:pt x="990600" y="117764"/>
                  </a:cubicBezTo>
                  <a:cubicBezTo>
                    <a:pt x="990605" y="117766"/>
                    <a:pt x="1025233" y="135080"/>
                    <a:pt x="1032163" y="138545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3602E6F9-952A-6AAD-9034-3E2E258E2A36}"/>
                </a:ext>
              </a:extLst>
            </p:cNvPr>
            <p:cNvSpPr/>
            <p:nvPr/>
          </p:nvSpPr>
          <p:spPr bwMode="gray">
            <a:xfrm>
              <a:off x="6272120" y="4252658"/>
              <a:ext cx="240954" cy="36667"/>
            </a:xfrm>
            <a:custGeom>
              <a:avLst/>
              <a:gdLst>
                <a:gd name="connsiteX0" fmla="*/ 0 w 318655"/>
                <a:gd name="connsiteY0" fmla="*/ 0 h 48491"/>
                <a:gd name="connsiteX1" fmla="*/ 159328 w 318655"/>
                <a:gd name="connsiteY1" fmla="*/ 6927 h 48491"/>
                <a:gd name="connsiteX2" fmla="*/ 207819 w 318655"/>
                <a:gd name="connsiteY2" fmla="*/ 34636 h 48491"/>
                <a:gd name="connsiteX3" fmla="*/ 235528 w 318655"/>
                <a:gd name="connsiteY3" fmla="*/ 48491 h 48491"/>
                <a:gd name="connsiteX4" fmla="*/ 290946 w 318655"/>
                <a:gd name="connsiteY4" fmla="*/ 41563 h 48491"/>
                <a:gd name="connsiteX5" fmla="*/ 318655 w 318655"/>
                <a:gd name="connsiteY5" fmla="*/ 34636 h 4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655" h="48491">
                  <a:moveTo>
                    <a:pt x="0" y="0"/>
                  </a:moveTo>
                  <a:cubicBezTo>
                    <a:pt x="53109" y="2309"/>
                    <a:pt x="106325" y="2850"/>
                    <a:pt x="159328" y="6927"/>
                  </a:cubicBezTo>
                  <a:cubicBezTo>
                    <a:pt x="181054" y="8598"/>
                    <a:pt x="190093" y="23557"/>
                    <a:pt x="207819" y="34636"/>
                  </a:cubicBezTo>
                  <a:cubicBezTo>
                    <a:pt x="216576" y="40109"/>
                    <a:pt x="226292" y="43873"/>
                    <a:pt x="235528" y="48491"/>
                  </a:cubicBezTo>
                  <a:cubicBezTo>
                    <a:pt x="254001" y="46182"/>
                    <a:pt x="272583" y="44624"/>
                    <a:pt x="290946" y="41563"/>
                  </a:cubicBezTo>
                  <a:cubicBezTo>
                    <a:pt x="300337" y="39998"/>
                    <a:pt x="318655" y="34636"/>
                    <a:pt x="318655" y="34636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203E063-DE31-A9CB-3837-931FA8C2E4C8}"/>
                </a:ext>
              </a:extLst>
            </p:cNvPr>
            <p:cNvSpPr/>
            <p:nvPr/>
          </p:nvSpPr>
          <p:spPr bwMode="gray">
            <a:xfrm>
              <a:off x="6486884" y="3775988"/>
              <a:ext cx="303811" cy="125714"/>
            </a:xfrm>
            <a:custGeom>
              <a:avLst/>
              <a:gdLst>
                <a:gd name="connsiteX0" fmla="*/ 0 w 401781"/>
                <a:gd name="connsiteY0" fmla="*/ 0 h 166254"/>
                <a:gd name="connsiteX1" fmla="*/ 83127 w 401781"/>
                <a:gd name="connsiteY1" fmla="*/ 83127 h 166254"/>
                <a:gd name="connsiteX2" fmla="*/ 152400 w 401781"/>
                <a:gd name="connsiteY2" fmla="*/ 117764 h 166254"/>
                <a:gd name="connsiteX3" fmla="*/ 284018 w 401781"/>
                <a:gd name="connsiteY3" fmla="*/ 138545 h 166254"/>
                <a:gd name="connsiteX4" fmla="*/ 311727 w 401781"/>
                <a:gd name="connsiteY4" fmla="*/ 145473 h 166254"/>
                <a:gd name="connsiteX5" fmla="*/ 394854 w 401781"/>
                <a:gd name="connsiteY5" fmla="*/ 159327 h 166254"/>
                <a:gd name="connsiteX6" fmla="*/ 401781 w 401781"/>
                <a:gd name="connsiteY6" fmla="*/ 166254 h 16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81" h="166254">
                  <a:moveTo>
                    <a:pt x="0" y="0"/>
                  </a:moveTo>
                  <a:cubicBezTo>
                    <a:pt x="22477" y="56194"/>
                    <a:pt x="7849" y="37960"/>
                    <a:pt x="83127" y="83127"/>
                  </a:cubicBezTo>
                  <a:cubicBezTo>
                    <a:pt x="105265" y="96410"/>
                    <a:pt x="128339" y="108407"/>
                    <a:pt x="152400" y="117764"/>
                  </a:cubicBezTo>
                  <a:cubicBezTo>
                    <a:pt x="195196" y="134407"/>
                    <a:pt x="238904" y="134444"/>
                    <a:pt x="284018" y="138545"/>
                  </a:cubicBezTo>
                  <a:cubicBezTo>
                    <a:pt x="293254" y="140854"/>
                    <a:pt x="302317" y="144025"/>
                    <a:pt x="311727" y="145473"/>
                  </a:cubicBezTo>
                  <a:cubicBezTo>
                    <a:pt x="333919" y="148887"/>
                    <a:pt x="370792" y="147296"/>
                    <a:pt x="394854" y="159327"/>
                  </a:cubicBezTo>
                  <a:cubicBezTo>
                    <a:pt x="397775" y="160787"/>
                    <a:pt x="399472" y="163945"/>
                    <a:pt x="401781" y="166254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3934A02-DAA6-4285-0658-826903CEFA19}"/>
                </a:ext>
              </a:extLst>
            </p:cNvPr>
            <p:cNvSpPr/>
            <p:nvPr/>
          </p:nvSpPr>
          <p:spPr bwMode="gray">
            <a:xfrm>
              <a:off x="6942600" y="3964561"/>
              <a:ext cx="162382" cy="104765"/>
            </a:xfrm>
            <a:custGeom>
              <a:avLst/>
              <a:gdLst>
                <a:gd name="connsiteX0" fmla="*/ 0 w 214746"/>
                <a:gd name="connsiteY0" fmla="*/ 0 h 138549"/>
                <a:gd name="connsiteX1" fmla="*/ 69273 w 214746"/>
                <a:gd name="connsiteY1" fmla="*/ 83127 h 138549"/>
                <a:gd name="connsiteX2" fmla="*/ 96982 w 214746"/>
                <a:gd name="connsiteY2" fmla="*/ 96982 h 138549"/>
                <a:gd name="connsiteX3" fmla="*/ 152400 w 214746"/>
                <a:gd name="connsiteY3" fmla="*/ 110836 h 138549"/>
                <a:gd name="connsiteX4" fmla="*/ 214746 w 214746"/>
                <a:gd name="connsiteY4" fmla="*/ 138545 h 13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746" h="138549">
                  <a:moveTo>
                    <a:pt x="0" y="0"/>
                  </a:moveTo>
                  <a:cubicBezTo>
                    <a:pt x="1566" y="2014"/>
                    <a:pt x="49574" y="69056"/>
                    <a:pt x="69273" y="83127"/>
                  </a:cubicBezTo>
                  <a:cubicBezTo>
                    <a:pt x="77676" y="89129"/>
                    <a:pt x="87490" y="92914"/>
                    <a:pt x="96982" y="96982"/>
                  </a:cubicBezTo>
                  <a:cubicBezTo>
                    <a:pt x="115618" y="104969"/>
                    <a:pt x="132074" y="106771"/>
                    <a:pt x="152400" y="110836"/>
                  </a:cubicBezTo>
                  <a:cubicBezTo>
                    <a:pt x="209884" y="139578"/>
                    <a:pt x="187165" y="138545"/>
                    <a:pt x="214746" y="138545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794DFBB-12FE-F406-F4DB-356BEF75E3BB}"/>
                </a:ext>
              </a:extLst>
            </p:cNvPr>
            <p:cNvSpPr/>
            <p:nvPr/>
          </p:nvSpPr>
          <p:spPr bwMode="gray">
            <a:xfrm>
              <a:off x="6785456" y="3901702"/>
              <a:ext cx="157144" cy="78573"/>
            </a:xfrm>
            <a:custGeom>
              <a:avLst/>
              <a:gdLst>
                <a:gd name="connsiteX0" fmla="*/ 0 w 207818"/>
                <a:gd name="connsiteY0" fmla="*/ 0 h 103910"/>
                <a:gd name="connsiteX1" fmla="*/ 103909 w 207818"/>
                <a:gd name="connsiteY1" fmla="*/ 13855 h 103910"/>
                <a:gd name="connsiteX2" fmla="*/ 152400 w 207818"/>
                <a:gd name="connsiteY2" fmla="*/ 48491 h 103910"/>
                <a:gd name="connsiteX3" fmla="*/ 173182 w 207818"/>
                <a:gd name="connsiteY3" fmla="*/ 76200 h 103910"/>
                <a:gd name="connsiteX4" fmla="*/ 207818 w 207818"/>
                <a:gd name="connsiteY4" fmla="*/ 103910 h 10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818" h="103910">
                  <a:moveTo>
                    <a:pt x="0" y="0"/>
                  </a:moveTo>
                  <a:cubicBezTo>
                    <a:pt x="18563" y="1547"/>
                    <a:pt x="75615" y="-292"/>
                    <a:pt x="103909" y="13855"/>
                  </a:cubicBezTo>
                  <a:cubicBezTo>
                    <a:pt x="111773" y="17787"/>
                    <a:pt x="149265" y="45356"/>
                    <a:pt x="152400" y="48491"/>
                  </a:cubicBezTo>
                  <a:cubicBezTo>
                    <a:pt x="160564" y="56655"/>
                    <a:pt x="165668" y="67434"/>
                    <a:pt x="173182" y="76200"/>
                  </a:cubicBezTo>
                  <a:cubicBezTo>
                    <a:pt x="191506" y="97578"/>
                    <a:pt x="188421" y="94210"/>
                    <a:pt x="207818" y="10391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BCECEA2-CFA9-FF42-446E-0F3D6A2BA62B}"/>
                </a:ext>
              </a:extLst>
            </p:cNvPr>
            <p:cNvSpPr/>
            <p:nvPr/>
          </p:nvSpPr>
          <p:spPr bwMode="gray">
            <a:xfrm>
              <a:off x="6334791" y="3613605"/>
              <a:ext cx="141616" cy="172858"/>
            </a:xfrm>
            <a:custGeom>
              <a:avLst/>
              <a:gdLst>
                <a:gd name="connsiteX0" fmla="*/ 187282 w 187282"/>
                <a:gd name="connsiteY0" fmla="*/ 228600 h 228600"/>
                <a:gd name="connsiteX1" fmla="*/ 131864 w 187282"/>
                <a:gd name="connsiteY1" fmla="*/ 166255 h 228600"/>
                <a:gd name="connsiteX2" fmla="*/ 104155 w 187282"/>
                <a:gd name="connsiteY2" fmla="*/ 145473 h 228600"/>
                <a:gd name="connsiteX3" fmla="*/ 83373 w 187282"/>
                <a:gd name="connsiteY3" fmla="*/ 131619 h 228600"/>
                <a:gd name="connsiteX4" fmla="*/ 41809 w 187282"/>
                <a:gd name="connsiteY4" fmla="*/ 117764 h 228600"/>
                <a:gd name="connsiteX5" fmla="*/ 14100 w 187282"/>
                <a:gd name="connsiteY5" fmla="*/ 90055 h 228600"/>
                <a:gd name="connsiteX6" fmla="*/ 7173 w 187282"/>
                <a:gd name="connsiteY6" fmla="*/ 69273 h 228600"/>
                <a:gd name="connsiteX7" fmla="*/ 246 w 187282"/>
                <a:gd name="connsiteY7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282" h="228600">
                  <a:moveTo>
                    <a:pt x="187282" y="228600"/>
                  </a:moveTo>
                  <a:cubicBezTo>
                    <a:pt x="165813" y="201763"/>
                    <a:pt x="157307" y="188517"/>
                    <a:pt x="131864" y="166255"/>
                  </a:cubicBezTo>
                  <a:cubicBezTo>
                    <a:pt x="123175" y="158652"/>
                    <a:pt x="113550" y="152184"/>
                    <a:pt x="104155" y="145473"/>
                  </a:cubicBezTo>
                  <a:cubicBezTo>
                    <a:pt x="97380" y="140634"/>
                    <a:pt x="90981" y="135000"/>
                    <a:pt x="83373" y="131619"/>
                  </a:cubicBezTo>
                  <a:cubicBezTo>
                    <a:pt x="70028" y="125688"/>
                    <a:pt x="55664" y="122382"/>
                    <a:pt x="41809" y="117764"/>
                  </a:cubicBezTo>
                  <a:cubicBezTo>
                    <a:pt x="32573" y="108528"/>
                    <a:pt x="21692" y="100684"/>
                    <a:pt x="14100" y="90055"/>
                  </a:cubicBezTo>
                  <a:cubicBezTo>
                    <a:pt x="9856" y="84113"/>
                    <a:pt x="8944" y="76357"/>
                    <a:pt x="7173" y="69273"/>
                  </a:cubicBezTo>
                  <a:cubicBezTo>
                    <a:pt x="-2018" y="32507"/>
                    <a:pt x="246" y="37398"/>
                    <a:pt x="246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07D6F9-355C-C68D-A888-1C0A6A776FC3}"/>
                </a:ext>
              </a:extLst>
            </p:cNvPr>
            <p:cNvSpPr/>
            <p:nvPr/>
          </p:nvSpPr>
          <p:spPr bwMode="gray">
            <a:xfrm>
              <a:off x="7110221" y="4074560"/>
              <a:ext cx="125715" cy="86210"/>
            </a:xfrm>
            <a:custGeom>
              <a:avLst/>
              <a:gdLst>
                <a:gd name="connsiteX0" fmla="*/ 0 w 166255"/>
                <a:gd name="connsiteY0" fmla="*/ 0 h 114010"/>
                <a:gd name="connsiteX1" fmla="*/ 20782 w 166255"/>
                <a:gd name="connsiteY1" fmla="*/ 34637 h 114010"/>
                <a:gd name="connsiteX2" fmla="*/ 34636 w 166255"/>
                <a:gd name="connsiteY2" fmla="*/ 62346 h 114010"/>
                <a:gd name="connsiteX3" fmla="*/ 62345 w 166255"/>
                <a:gd name="connsiteY3" fmla="*/ 83128 h 114010"/>
                <a:gd name="connsiteX4" fmla="*/ 83127 w 166255"/>
                <a:gd name="connsiteY4" fmla="*/ 110837 h 114010"/>
                <a:gd name="connsiteX5" fmla="*/ 166255 w 166255"/>
                <a:gd name="connsiteY5" fmla="*/ 110837 h 11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255" h="114010">
                  <a:moveTo>
                    <a:pt x="0" y="0"/>
                  </a:moveTo>
                  <a:cubicBezTo>
                    <a:pt x="6927" y="11546"/>
                    <a:pt x="14243" y="22867"/>
                    <a:pt x="20782" y="34637"/>
                  </a:cubicBezTo>
                  <a:cubicBezTo>
                    <a:pt x="25797" y="43664"/>
                    <a:pt x="27916" y="54506"/>
                    <a:pt x="34636" y="62346"/>
                  </a:cubicBezTo>
                  <a:cubicBezTo>
                    <a:pt x="42150" y="71112"/>
                    <a:pt x="54181" y="74964"/>
                    <a:pt x="62345" y="83128"/>
                  </a:cubicBezTo>
                  <a:cubicBezTo>
                    <a:pt x="70509" y="91292"/>
                    <a:pt x="71971" y="107862"/>
                    <a:pt x="83127" y="110837"/>
                  </a:cubicBezTo>
                  <a:cubicBezTo>
                    <a:pt x="109901" y="117977"/>
                    <a:pt x="138546" y="110837"/>
                    <a:pt x="166255" y="11083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ECDF0A5-8FD5-54D9-A7AB-86A70B3806E5}"/>
                </a:ext>
              </a:extLst>
            </p:cNvPr>
            <p:cNvSpPr/>
            <p:nvPr/>
          </p:nvSpPr>
          <p:spPr bwMode="gray">
            <a:xfrm>
              <a:off x="6528789" y="4224354"/>
              <a:ext cx="471432" cy="59733"/>
            </a:xfrm>
            <a:custGeom>
              <a:avLst/>
              <a:gdLst>
                <a:gd name="connsiteX0" fmla="*/ 0 w 623454"/>
                <a:gd name="connsiteY0" fmla="*/ 78994 h 78994"/>
                <a:gd name="connsiteX1" fmla="*/ 6927 w 623454"/>
                <a:gd name="connsiteY1" fmla="*/ 44358 h 78994"/>
                <a:gd name="connsiteX2" fmla="*/ 20782 w 623454"/>
                <a:gd name="connsiteY2" fmla="*/ 23576 h 78994"/>
                <a:gd name="connsiteX3" fmla="*/ 41563 w 623454"/>
                <a:gd name="connsiteY3" fmla="*/ 16649 h 78994"/>
                <a:gd name="connsiteX4" fmla="*/ 159327 w 623454"/>
                <a:gd name="connsiteY4" fmla="*/ 9722 h 78994"/>
                <a:gd name="connsiteX5" fmla="*/ 318654 w 623454"/>
                <a:gd name="connsiteY5" fmla="*/ 23576 h 78994"/>
                <a:gd name="connsiteX6" fmla="*/ 353291 w 623454"/>
                <a:gd name="connsiteY6" fmla="*/ 16649 h 78994"/>
                <a:gd name="connsiteX7" fmla="*/ 394854 w 623454"/>
                <a:gd name="connsiteY7" fmla="*/ 9722 h 78994"/>
                <a:gd name="connsiteX8" fmla="*/ 623454 w 623454"/>
                <a:gd name="connsiteY8" fmla="*/ 30503 h 7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3454" h="78994">
                  <a:moveTo>
                    <a:pt x="0" y="78994"/>
                  </a:moveTo>
                  <a:cubicBezTo>
                    <a:pt x="2309" y="67449"/>
                    <a:pt x="2793" y="55382"/>
                    <a:pt x="6927" y="44358"/>
                  </a:cubicBezTo>
                  <a:cubicBezTo>
                    <a:pt x="9850" y="36562"/>
                    <a:pt x="14281" y="28777"/>
                    <a:pt x="20782" y="23576"/>
                  </a:cubicBezTo>
                  <a:cubicBezTo>
                    <a:pt x="26484" y="19015"/>
                    <a:pt x="34298" y="17376"/>
                    <a:pt x="41563" y="16649"/>
                  </a:cubicBezTo>
                  <a:cubicBezTo>
                    <a:pt x="80690" y="12736"/>
                    <a:pt x="120072" y="12031"/>
                    <a:pt x="159327" y="9722"/>
                  </a:cubicBezTo>
                  <a:cubicBezTo>
                    <a:pt x="228270" y="-13261"/>
                    <a:pt x="148204" y="9940"/>
                    <a:pt x="318654" y="23576"/>
                  </a:cubicBezTo>
                  <a:cubicBezTo>
                    <a:pt x="330391" y="24515"/>
                    <a:pt x="341707" y="18755"/>
                    <a:pt x="353291" y="16649"/>
                  </a:cubicBezTo>
                  <a:cubicBezTo>
                    <a:pt x="367110" y="14137"/>
                    <a:pt x="381000" y="12031"/>
                    <a:pt x="394854" y="9722"/>
                  </a:cubicBezTo>
                  <a:cubicBezTo>
                    <a:pt x="614752" y="23908"/>
                    <a:pt x="545442" y="-8503"/>
                    <a:pt x="623454" y="3050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5892988-F859-3FB4-C00A-60D5073C2F4A}"/>
                </a:ext>
              </a:extLst>
            </p:cNvPr>
            <p:cNvSpPr/>
            <p:nvPr/>
          </p:nvSpPr>
          <p:spPr bwMode="gray">
            <a:xfrm>
              <a:off x="6062594" y="4236943"/>
              <a:ext cx="214764" cy="22335"/>
            </a:xfrm>
            <a:custGeom>
              <a:avLst/>
              <a:gdLst>
                <a:gd name="connsiteX0" fmla="*/ 0 w 284019"/>
                <a:gd name="connsiteY0" fmla="*/ 0 h 29537"/>
                <a:gd name="connsiteX1" fmla="*/ 34637 w 284019"/>
                <a:gd name="connsiteY1" fmla="*/ 6927 h 29537"/>
                <a:gd name="connsiteX2" fmla="*/ 90055 w 284019"/>
                <a:gd name="connsiteY2" fmla="*/ 13854 h 29537"/>
                <a:gd name="connsiteX3" fmla="*/ 110837 w 284019"/>
                <a:gd name="connsiteY3" fmla="*/ 27709 h 29537"/>
                <a:gd name="connsiteX4" fmla="*/ 284019 w 284019"/>
                <a:gd name="connsiteY4" fmla="*/ 27709 h 2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019" h="29537">
                  <a:moveTo>
                    <a:pt x="0" y="0"/>
                  </a:moveTo>
                  <a:cubicBezTo>
                    <a:pt x="11546" y="2309"/>
                    <a:pt x="23000" y="5137"/>
                    <a:pt x="34637" y="6927"/>
                  </a:cubicBezTo>
                  <a:cubicBezTo>
                    <a:pt x="53037" y="9758"/>
                    <a:pt x="72095" y="8956"/>
                    <a:pt x="90055" y="13854"/>
                  </a:cubicBezTo>
                  <a:cubicBezTo>
                    <a:pt x="98087" y="16045"/>
                    <a:pt x="102532" y="27116"/>
                    <a:pt x="110837" y="27709"/>
                  </a:cubicBezTo>
                  <a:cubicBezTo>
                    <a:pt x="168418" y="31822"/>
                    <a:pt x="226292" y="27709"/>
                    <a:pt x="284019" y="27709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DFDCB62-0CD3-5BEA-BD04-BF129741222D}"/>
                </a:ext>
              </a:extLst>
            </p:cNvPr>
            <p:cNvSpPr/>
            <p:nvPr/>
          </p:nvSpPr>
          <p:spPr bwMode="gray">
            <a:xfrm>
              <a:off x="8901662" y="4273610"/>
              <a:ext cx="220002" cy="94863"/>
            </a:xfrm>
            <a:custGeom>
              <a:avLst/>
              <a:gdLst>
                <a:gd name="connsiteX0" fmla="*/ 0 w 290946"/>
                <a:gd name="connsiteY0" fmla="*/ 0 h 125453"/>
                <a:gd name="connsiteX1" fmla="*/ 83128 w 290946"/>
                <a:gd name="connsiteY1" fmla="*/ 6927 h 125453"/>
                <a:gd name="connsiteX2" fmla="*/ 103909 w 290946"/>
                <a:gd name="connsiteY2" fmla="*/ 20782 h 125453"/>
                <a:gd name="connsiteX3" fmla="*/ 124691 w 290946"/>
                <a:gd name="connsiteY3" fmla="*/ 27709 h 125453"/>
                <a:gd name="connsiteX4" fmla="*/ 187037 w 290946"/>
                <a:gd name="connsiteY4" fmla="*/ 55418 h 125453"/>
                <a:gd name="connsiteX5" fmla="*/ 235528 w 290946"/>
                <a:gd name="connsiteY5" fmla="*/ 90054 h 125453"/>
                <a:gd name="connsiteX6" fmla="*/ 277091 w 290946"/>
                <a:gd name="connsiteY6" fmla="*/ 124691 h 125453"/>
                <a:gd name="connsiteX7" fmla="*/ 290946 w 290946"/>
                <a:gd name="connsiteY7" fmla="*/ 124691 h 12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946" h="125453">
                  <a:moveTo>
                    <a:pt x="0" y="0"/>
                  </a:moveTo>
                  <a:cubicBezTo>
                    <a:pt x="27709" y="2309"/>
                    <a:pt x="55863" y="1474"/>
                    <a:pt x="83128" y="6927"/>
                  </a:cubicBezTo>
                  <a:cubicBezTo>
                    <a:pt x="91292" y="8560"/>
                    <a:pt x="96463" y="17059"/>
                    <a:pt x="103909" y="20782"/>
                  </a:cubicBezTo>
                  <a:cubicBezTo>
                    <a:pt x="110440" y="24048"/>
                    <a:pt x="118160" y="24443"/>
                    <a:pt x="124691" y="27709"/>
                  </a:cubicBezTo>
                  <a:cubicBezTo>
                    <a:pt x="184613" y="57669"/>
                    <a:pt x="134160" y="42199"/>
                    <a:pt x="187037" y="55418"/>
                  </a:cubicBezTo>
                  <a:cubicBezTo>
                    <a:pt x="203473" y="66376"/>
                    <a:pt x="220504" y="77177"/>
                    <a:pt x="235528" y="90054"/>
                  </a:cubicBezTo>
                  <a:cubicBezTo>
                    <a:pt x="250673" y="103035"/>
                    <a:pt x="257951" y="117035"/>
                    <a:pt x="277091" y="124691"/>
                  </a:cubicBezTo>
                  <a:cubicBezTo>
                    <a:pt x="281379" y="126406"/>
                    <a:pt x="286328" y="124691"/>
                    <a:pt x="290946" y="124691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EEE25105-66EC-C08C-1DEB-1D5714218021}"/>
                </a:ext>
              </a:extLst>
            </p:cNvPr>
            <p:cNvSpPr/>
            <p:nvPr/>
          </p:nvSpPr>
          <p:spPr bwMode="gray">
            <a:xfrm>
              <a:off x="7764956" y="4655993"/>
              <a:ext cx="84753" cy="544765"/>
            </a:xfrm>
            <a:custGeom>
              <a:avLst/>
              <a:gdLst>
                <a:gd name="connsiteX0" fmla="*/ 27750 w 112084"/>
                <a:gd name="connsiteY0" fmla="*/ 720436 h 720436"/>
                <a:gd name="connsiteX1" fmla="*/ 20823 w 112084"/>
                <a:gd name="connsiteY1" fmla="*/ 678872 h 720436"/>
                <a:gd name="connsiteX2" fmla="*/ 13896 w 112084"/>
                <a:gd name="connsiteY2" fmla="*/ 630382 h 720436"/>
                <a:gd name="connsiteX3" fmla="*/ 6968 w 112084"/>
                <a:gd name="connsiteY3" fmla="*/ 609600 h 720436"/>
                <a:gd name="connsiteX4" fmla="*/ 20823 w 112084"/>
                <a:gd name="connsiteY4" fmla="*/ 332509 h 720436"/>
                <a:gd name="connsiteX5" fmla="*/ 34677 w 112084"/>
                <a:gd name="connsiteY5" fmla="*/ 159327 h 720436"/>
                <a:gd name="connsiteX6" fmla="*/ 41605 w 112084"/>
                <a:gd name="connsiteY6" fmla="*/ 138545 h 720436"/>
                <a:gd name="connsiteX7" fmla="*/ 55459 w 112084"/>
                <a:gd name="connsiteY7" fmla="*/ 103909 h 720436"/>
                <a:gd name="connsiteX8" fmla="*/ 83168 w 112084"/>
                <a:gd name="connsiteY8" fmla="*/ 90054 h 720436"/>
                <a:gd name="connsiteX9" fmla="*/ 110877 w 112084"/>
                <a:gd name="connsiteY9" fmla="*/ 41563 h 720436"/>
                <a:gd name="connsiteX10" fmla="*/ 110877 w 112084"/>
                <a:gd name="connsiteY10" fmla="*/ 0 h 72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2084" h="720436">
                  <a:moveTo>
                    <a:pt x="27750" y="720436"/>
                  </a:moveTo>
                  <a:cubicBezTo>
                    <a:pt x="25441" y="706581"/>
                    <a:pt x="22959" y="692754"/>
                    <a:pt x="20823" y="678872"/>
                  </a:cubicBezTo>
                  <a:cubicBezTo>
                    <a:pt x="18340" y="662734"/>
                    <a:pt x="17098" y="646392"/>
                    <a:pt x="13896" y="630382"/>
                  </a:cubicBezTo>
                  <a:cubicBezTo>
                    <a:pt x="12464" y="623222"/>
                    <a:pt x="9277" y="616527"/>
                    <a:pt x="6968" y="609600"/>
                  </a:cubicBezTo>
                  <a:cubicBezTo>
                    <a:pt x="-5097" y="440682"/>
                    <a:pt x="-2122" y="566547"/>
                    <a:pt x="20823" y="332509"/>
                  </a:cubicBezTo>
                  <a:cubicBezTo>
                    <a:pt x="26473" y="274874"/>
                    <a:pt x="28507" y="216909"/>
                    <a:pt x="34677" y="159327"/>
                  </a:cubicBezTo>
                  <a:cubicBezTo>
                    <a:pt x="35455" y="152066"/>
                    <a:pt x="39041" y="145382"/>
                    <a:pt x="41605" y="138545"/>
                  </a:cubicBezTo>
                  <a:cubicBezTo>
                    <a:pt x="45971" y="126902"/>
                    <a:pt x="47367" y="113350"/>
                    <a:pt x="55459" y="103909"/>
                  </a:cubicBezTo>
                  <a:cubicBezTo>
                    <a:pt x="62179" y="96068"/>
                    <a:pt x="73932" y="94672"/>
                    <a:pt x="83168" y="90054"/>
                  </a:cubicBezTo>
                  <a:cubicBezTo>
                    <a:pt x="90604" y="78900"/>
                    <a:pt x="108366" y="54121"/>
                    <a:pt x="110877" y="41563"/>
                  </a:cubicBezTo>
                  <a:cubicBezTo>
                    <a:pt x="113594" y="27978"/>
                    <a:pt x="110877" y="13854"/>
                    <a:pt x="11087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F7A1048-E554-09F6-94E9-A75E75DE3BD2}"/>
                </a:ext>
              </a:extLst>
            </p:cNvPr>
            <p:cNvSpPr/>
            <p:nvPr/>
          </p:nvSpPr>
          <p:spPr bwMode="gray">
            <a:xfrm>
              <a:off x="8862523" y="3987661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F25171C-9B89-509F-8976-554574E871BA}"/>
                </a:ext>
              </a:extLst>
            </p:cNvPr>
            <p:cNvSpPr/>
            <p:nvPr/>
          </p:nvSpPr>
          <p:spPr bwMode="gray">
            <a:xfrm>
              <a:off x="7718426" y="4280303"/>
              <a:ext cx="22961" cy="38413"/>
            </a:xfrm>
            <a:custGeom>
              <a:avLst/>
              <a:gdLst>
                <a:gd name="connsiteX0" fmla="*/ 0 w 30365"/>
                <a:gd name="connsiteY0" fmla="*/ 50800 h 50800"/>
                <a:gd name="connsiteX1" fmla="*/ 21167 w 30365"/>
                <a:gd name="connsiteY1" fmla="*/ 46567 h 50800"/>
                <a:gd name="connsiteX2" fmla="*/ 29634 w 30365"/>
                <a:gd name="connsiteY2" fmla="*/ 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365" h="50800">
                  <a:moveTo>
                    <a:pt x="0" y="50800"/>
                  </a:moveTo>
                  <a:cubicBezTo>
                    <a:pt x="7056" y="49389"/>
                    <a:pt x="15312" y="50749"/>
                    <a:pt x="21167" y="46567"/>
                  </a:cubicBezTo>
                  <a:cubicBezTo>
                    <a:pt x="34052" y="37364"/>
                    <a:pt x="29634" y="10015"/>
                    <a:pt x="29634" y="0"/>
                  </a:cubicBezTo>
                </a:path>
              </a:pathLst>
            </a:custGeom>
            <a:solidFill>
              <a:srgbClr val="86BC25"/>
            </a:solidFill>
            <a:ln w="38100" algn="ctr">
              <a:solidFill>
                <a:srgbClr val="53D0FF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C7CDBFF-D0FB-F6C6-4F9C-CAF66293E659}"/>
                </a:ext>
              </a:extLst>
            </p:cNvPr>
            <p:cNvSpPr/>
            <p:nvPr/>
          </p:nvSpPr>
          <p:spPr bwMode="gray">
            <a:xfrm>
              <a:off x="8700933" y="5404680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6EC2A00-E0D1-7FDD-C841-5C14FE12A182}"/>
                </a:ext>
              </a:extLst>
            </p:cNvPr>
            <p:cNvSpPr/>
            <p:nvPr/>
          </p:nvSpPr>
          <p:spPr bwMode="gray">
            <a:xfrm>
              <a:off x="10661676" y="5357902"/>
              <a:ext cx="29463" cy="188573"/>
            </a:xfrm>
            <a:custGeom>
              <a:avLst/>
              <a:gdLst>
                <a:gd name="connsiteX0" fmla="*/ 27708 w 38964"/>
                <a:gd name="connsiteY0" fmla="*/ 249382 h 249382"/>
                <a:gd name="connsiteX1" fmla="*/ 27708 w 38964"/>
                <a:gd name="connsiteY1" fmla="*/ 83128 h 249382"/>
                <a:gd name="connsiteX2" fmla="*/ 6926 w 38964"/>
                <a:gd name="connsiteY2" fmla="*/ 55418 h 249382"/>
                <a:gd name="connsiteX3" fmla="*/ 6926 w 38964"/>
                <a:gd name="connsiteY3" fmla="*/ 6928 h 249382"/>
                <a:gd name="connsiteX4" fmla="*/ 13853 w 38964"/>
                <a:gd name="connsiteY4" fmla="*/ 0 h 249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64" h="249382">
                  <a:moveTo>
                    <a:pt x="27708" y="249382"/>
                  </a:moveTo>
                  <a:cubicBezTo>
                    <a:pt x="40758" y="184129"/>
                    <a:pt x="44555" y="179998"/>
                    <a:pt x="27708" y="83128"/>
                  </a:cubicBezTo>
                  <a:cubicBezTo>
                    <a:pt x="25730" y="71753"/>
                    <a:pt x="13853" y="64655"/>
                    <a:pt x="6926" y="55418"/>
                  </a:cubicBezTo>
                  <a:cubicBezTo>
                    <a:pt x="388" y="29263"/>
                    <a:pt x="-4668" y="30116"/>
                    <a:pt x="6926" y="6928"/>
                  </a:cubicBezTo>
                  <a:cubicBezTo>
                    <a:pt x="8386" y="4007"/>
                    <a:pt x="11544" y="2309"/>
                    <a:pt x="13853" y="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cs-CZ" sz="140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B252302-79BC-269B-A0C8-447F67EC1716}"/>
                </a:ext>
              </a:extLst>
            </p:cNvPr>
            <p:cNvSpPr/>
            <p:nvPr/>
          </p:nvSpPr>
          <p:spPr bwMode="gray">
            <a:xfrm>
              <a:off x="7119984" y="5357902"/>
              <a:ext cx="32142" cy="188573"/>
            </a:xfrm>
            <a:custGeom>
              <a:avLst/>
              <a:gdLst>
                <a:gd name="connsiteX0" fmla="*/ 14798 w 42507"/>
                <a:gd name="connsiteY0" fmla="*/ 249382 h 249382"/>
                <a:gd name="connsiteX1" fmla="*/ 21725 w 42507"/>
                <a:gd name="connsiteY1" fmla="*/ 214746 h 249382"/>
                <a:gd name="connsiteX2" fmla="*/ 7871 w 42507"/>
                <a:gd name="connsiteY2" fmla="*/ 41564 h 249382"/>
                <a:gd name="connsiteX3" fmla="*/ 21725 w 42507"/>
                <a:gd name="connsiteY3" fmla="*/ 13855 h 249382"/>
                <a:gd name="connsiteX4" fmla="*/ 42507 w 42507"/>
                <a:gd name="connsiteY4" fmla="*/ 0 h 249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07" h="249382">
                  <a:moveTo>
                    <a:pt x="14798" y="249382"/>
                  </a:moveTo>
                  <a:cubicBezTo>
                    <a:pt x="17107" y="237837"/>
                    <a:pt x="22897" y="226462"/>
                    <a:pt x="21725" y="214746"/>
                  </a:cubicBezTo>
                  <a:cubicBezTo>
                    <a:pt x="10808" y="105575"/>
                    <a:pt x="-12041" y="134491"/>
                    <a:pt x="7871" y="41564"/>
                  </a:cubicBezTo>
                  <a:cubicBezTo>
                    <a:pt x="10035" y="31467"/>
                    <a:pt x="15114" y="21788"/>
                    <a:pt x="21725" y="13855"/>
                  </a:cubicBezTo>
                  <a:cubicBezTo>
                    <a:pt x="27055" y="7459"/>
                    <a:pt x="35580" y="4618"/>
                    <a:pt x="42507" y="0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EA5D6DC-EC0B-F96A-181F-ADD885082843}"/>
                </a:ext>
              </a:extLst>
            </p:cNvPr>
            <p:cNvSpPr/>
            <p:nvPr/>
          </p:nvSpPr>
          <p:spPr bwMode="gray">
            <a:xfrm>
              <a:off x="10672152" y="5289807"/>
              <a:ext cx="15714" cy="83810"/>
            </a:xfrm>
            <a:custGeom>
              <a:avLst/>
              <a:gdLst>
                <a:gd name="connsiteX0" fmla="*/ 20782 w 20782"/>
                <a:gd name="connsiteY0" fmla="*/ 0 h 110836"/>
                <a:gd name="connsiteX1" fmla="*/ 13855 w 20782"/>
                <a:gd name="connsiteY1" fmla="*/ 55418 h 110836"/>
                <a:gd name="connsiteX2" fmla="*/ 0 w 20782"/>
                <a:gd name="connsiteY2" fmla="*/ 110836 h 110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82" h="110836">
                  <a:moveTo>
                    <a:pt x="20782" y="0"/>
                  </a:moveTo>
                  <a:cubicBezTo>
                    <a:pt x="18473" y="18473"/>
                    <a:pt x="16488" y="36989"/>
                    <a:pt x="13855" y="55418"/>
                  </a:cubicBezTo>
                  <a:cubicBezTo>
                    <a:pt x="7634" y="98965"/>
                    <a:pt x="12639" y="85563"/>
                    <a:pt x="0" y="110836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92F46E79-D3CF-1F65-BECA-EEB3782C3269}"/>
                </a:ext>
              </a:extLst>
            </p:cNvPr>
            <p:cNvSpPr/>
            <p:nvPr/>
          </p:nvSpPr>
          <p:spPr bwMode="gray">
            <a:xfrm>
              <a:off x="11475341" y="4584389"/>
              <a:ext cx="81665" cy="81665"/>
            </a:xfrm>
            <a:prstGeom prst="ellipse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A3FA085-46E3-C6A0-2F41-F7057B9E5208}"/>
                </a:ext>
              </a:extLst>
            </p:cNvPr>
            <p:cNvSpPr/>
            <p:nvPr/>
          </p:nvSpPr>
          <p:spPr bwMode="gray">
            <a:xfrm>
              <a:off x="10765856" y="4587606"/>
              <a:ext cx="893102" cy="617809"/>
            </a:xfrm>
            <a:custGeom>
              <a:avLst/>
              <a:gdLst>
                <a:gd name="connsiteX0" fmla="*/ 0 w 1181100"/>
                <a:gd name="connsiteY0" fmla="*/ 817034 h 817034"/>
                <a:gd name="connsiteX1" fmla="*/ 21166 w 1181100"/>
                <a:gd name="connsiteY1" fmla="*/ 808567 h 817034"/>
                <a:gd name="connsiteX2" fmla="*/ 143933 w 1181100"/>
                <a:gd name="connsiteY2" fmla="*/ 808567 h 817034"/>
                <a:gd name="connsiteX3" fmla="*/ 182033 w 1181100"/>
                <a:gd name="connsiteY3" fmla="*/ 804334 h 817034"/>
                <a:gd name="connsiteX4" fmla="*/ 194733 w 1181100"/>
                <a:gd name="connsiteY4" fmla="*/ 800100 h 817034"/>
                <a:gd name="connsiteX5" fmla="*/ 220133 w 1181100"/>
                <a:gd name="connsiteY5" fmla="*/ 795867 h 817034"/>
                <a:gd name="connsiteX6" fmla="*/ 254000 w 1181100"/>
                <a:gd name="connsiteY6" fmla="*/ 753534 h 817034"/>
                <a:gd name="connsiteX7" fmla="*/ 262466 w 1181100"/>
                <a:gd name="connsiteY7" fmla="*/ 736600 h 817034"/>
                <a:gd name="connsiteX8" fmla="*/ 292100 w 1181100"/>
                <a:gd name="connsiteY8" fmla="*/ 723900 h 817034"/>
                <a:gd name="connsiteX9" fmla="*/ 304800 w 1181100"/>
                <a:gd name="connsiteY9" fmla="*/ 711200 h 817034"/>
                <a:gd name="connsiteX10" fmla="*/ 309033 w 1181100"/>
                <a:gd name="connsiteY10" fmla="*/ 698500 h 817034"/>
                <a:gd name="connsiteX11" fmla="*/ 338666 w 1181100"/>
                <a:gd name="connsiteY11" fmla="*/ 681567 h 817034"/>
                <a:gd name="connsiteX12" fmla="*/ 389466 w 1181100"/>
                <a:gd name="connsiteY12" fmla="*/ 668867 h 817034"/>
                <a:gd name="connsiteX13" fmla="*/ 419100 w 1181100"/>
                <a:gd name="connsiteY13" fmla="*/ 647700 h 817034"/>
                <a:gd name="connsiteX14" fmla="*/ 431800 w 1181100"/>
                <a:gd name="connsiteY14" fmla="*/ 635000 h 817034"/>
                <a:gd name="connsiteX15" fmla="*/ 461433 w 1181100"/>
                <a:gd name="connsiteY15" fmla="*/ 613834 h 817034"/>
                <a:gd name="connsiteX16" fmla="*/ 495300 w 1181100"/>
                <a:gd name="connsiteY16" fmla="*/ 596900 h 817034"/>
                <a:gd name="connsiteX17" fmla="*/ 516466 w 1181100"/>
                <a:gd name="connsiteY17" fmla="*/ 588434 h 817034"/>
                <a:gd name="connsiteX18" fmla="*/ 529166 w 1181100"/>
                <a:gd name="connsiteY18" fmla="*/ 584200 h 817034"/>
                <a:gd name="connsiteX19" fmla="*/ 554566 w 1181100"/>
                <a:gd name="connsiteY19" fmla="*/ 567267 h 817034"/>
                <a:gd name="connsiteX20" fmla="*/ 567266 w 1181100"/>
                <a:gd name="connsiteY20" fmla="*/ 478367 h 817034"/>
                <a:gd name="connsiteX21" fmla="*/ 575733 w 1181100"/>
                <a:gd name="connsiteY21" fmla="*/ 465667 h 817034"/>
                <a:gd name="connsiteX22" fmla="*/ 618066 w 1181100"/>
                <a:gd name="connsiteY22" fmla="*/ 440267 h 817034"/>
                <a:gd name="connsiteX23" fmla="*/ 673100 w 1181100"/>
                <a:gd name="connsiteY23" fmla="*/ 436034 h 817034"/>
                <a:gd name="connsiteX24" fmla="*/ 690033 w 1181100"/>
                <a:gd name="connsiteY24" fmla="*/ 423334 h 817034"/>
                <a:gd name="connsiteX25" fmla="*/ 702733 w 1181100"/>
                <a:gd name="connsiteY25" fmla="*/ 414867 h 817034"/>
                <a:gd name="connsiteX26" fmla="*/ 715433 w 1181100"/>
                <a:gd name="connsiteY26" fmla="*/ 402167 h 817034"/>
                <a:gd name="connsiteX27" fmla="*/ 728133 w 1181100"/>
                <a:gd name="connsiteY27" fmla="*/ 372534 h 817034"/>
                <a:gd name="connsiteX28" fmla="*/ 740833 w 1181100"/>
                <a:gd name="connsiteY28" fmla="*/ 342900 h 817034"/>
                <a:gd name="connsiteX29" fmla="*/ 757766 w 1181100"/>
                <a:gd name="connsiteY29" fmla="*/ 325967 h 817034"/>
                <a:gd name="connsiteX30" fmla="*/ 825500 w 1181100"/>
                <a:gd name="connsiteY30" fmla="*/ 321734 h 817034"/>
                <a:gd name="connsiteX31" fmla="*/ 859366 w 1181100"/>
                <a:gd name="connsiteY31" fmla="*/ 317500 h 817034"/>
                <a:gd name="connsiteX32" fmla="*/ 889000 w 1181100"/>
                <a:gd name="connsiteY32" fmla="*/ 283634 h 817034"/>
                <a:gd name="connsiteX33" fmla="*/ 901700 w 1181100"/>
                <a:gd name="connsiteY33" fmla="*/ 262467 h 817034"/>
                <a:gd name="connsiteX34" fmla="*/ 918633 w 1181100"/>
                <a:gd name="connsiteY34" fmla="*/ 245534 h 817034"/>
                <a:gd name="connsiteX35" fmla="*/ 931333 w 1181100"/>
                <a:gd name="connsiteY35" fmla="*/ 228600 h 817034"/>
                <a:gd name="connsiteX36" fmla="*/ 939800 w 1181100"/>
                <a:gd name="connsiteY36" fmla="*/ 190500 h 817034"/>
                <a:gd name="connsiteX37" fmla="*/ 948266 w 1181100"/>
                <a:gd name="connsiteY37" fmla="*/ 165100 h 817034"/>
                <a:gd name="connsiteX38" fmla="*/ 965200 w 1181100"/>
                <a:gd name="connsiteY38" fmla="*/ 139700 h 817034"/>
                <a:gd name="connsiteX39" fmla="*/ 1007533 w 1181100"/>
                <a:gd name="connsiteY39" fmla="*/ 135467 h 817034"/>
                <a:gd name="connsiteX40" fmla="*/ 1045633 w 1181100"/>
                <a:gd name="connsiteY40" fmla="*/ 131234 h 817034"/>
                <a:gd name="connsiteX41" fmla="*/ 1058333 w 1181100"/>
                <a:gd name="connsiteY41" fmla="*/ 127000 h 817034"/>
                <a:gd name="connsiteX42" fmla="*/ 1083733 w 1181100"/>
                <a:gd name="connsiteY42" fmla="*/ 84667 h 817034"/>
                <a:gd name="connsiteX43" fmla="*/ 1092200 w 1181100"/>
                <a:gd name="connsiteY43" fmla="*/ 71967 h 817034"/>
                <a:gd name="connsiteX44" fmla="*/ 1100666 w 1181100"/>
                <a:gd name="connsiteY44" fmla="*/ 55034 h 817034"/>
                <a:gd name="connsiteX45" fmla="*/ 1121833 w 1181100"/>
                <a:gd name="connsiteY45" fmla="*/ 42334 h 817034"/>
                <a:gd name="connsiteX46" fmla="*/ 1134533 w 1181100"/>
                <a:gd name="connsiteY46" fmla="*/ 33867 h 817034"/>
                <a:gd name="connsiteX47" fmla="*/ 1143000 w 1181100"/>
                <a:gd name="connsiteY47" fmla="*/ 21167 h 817034"/>
                <a:gd name="connsiteX48" fmla="*/ 1164166 w 1181100"/>
                <a:gd name="connsiteY48" fmla="*/ 16934 h 817034"/>
                <a:gd name="connsiteX49" fmla="*/ 1181100 w 1181100"/>
                <a:gd name="connsiteY49" fmla="*/ 0 h 81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181100" h="817034">
                  <a:moveTo>
                    <a:pt x="0" y="817034"/>
                  </a:moveTo>
                  <a:cubicBezTo>
                    <a:pt x="7055" y="814212"/>
                    <a:pt x="13736" y="810159"/>
                    <a:pt x="21166" y="808567"/>
                  </a:cubicBezTo>
                  <a:cubicBezTo>
                    <a:pt x="61510" y="799922"/>
                    <a:pt x="103648" y="806553"/>
                    <a:pt x="143933" y="808567"/>
                  </a:cubicBezTo>
                  <a:cubicBezTo>
                    <a:pt x="156633" y="807156"/>
                    <a:pt x="169429" y="806435"/>
                    <a:pt x="182033" y="804334"/>
                  </a:cubicBezTo>
                  <a:cubicBezTo>
                    <a:pt x="186435" y="803600"/>
                    <a:pt x="190377" y="801068"/>
                    <a:pt x="194733" y="800100"/>
                  </a:cubicBezTo>
                  <a:cubicBezTo>
                    <a:pt x="203112" y="798238"/>
                    <a:pt x="211666" y="797278"/>
                    <a:pt x="220133" y="795867"/>
                  </a:cubicBezTo>
                  <a:cubicBezTo>
                    <a:pt x="235880" y="780120"/>
                    <a:pt x="243323" y="774891"/>
                    <a:pt x="254000" y="753534"/>
                  </a:cubicBezTo>
                  <a:cubicBezTo>
                    <a:pt x="256822" y="747889"/>
                    <a:pt x="257485" y="740474"/>
                    <a:pt x="262466" y="736600"/>
                  </a:cubicBezTo>
                  <a:cubicBezTo>
                    <a:pt x="270949" y="730002"/>
                    <a:pt x="282222" y="728133"/>
                    <a:pt x="292100" y="723900"/>
                  </a:cubicBezTo>
                  <a:cubicBezTo>
                    <a:pt x="296333" y="719667"/>
                    <a:pt x="301479" y="716181"/>
                    <a:pt x="304800" y="711200"/>
                  </a:cubicBezTo>
                  <a:cubicBezTo>
                    <a:pt x="307275" y="707487"/>
                    <a:pt x="306176" y="701928"/>
                    <a:pt x="309033" y="698500"/>
                  </a:cubicBezTo>
                  <a:cubicBezTo>
                    <a:pt x="317461" y="688386"/>
                    <a:pt x="326909" y="684702"/>
                    <a:pt x="338666" y="681567"/>
                  </a:cubicBezTo>
                  <a:cubicBezTo>
                    <a:pt x="355531" y="677070"/>
                    <a:pt x="389466" y="668867"/>
                    <a:pt x="389466" y="668867"/>
                  </a:cubicBezTo>
                  <a:cubicBezTo>
                    <a:pt x="406606" y="643158"/>
                    <a:pt x="386551" y="668043"/>
                    <a:pt x="419100" y="647700"/>
                  </a:cubicBezTo>
                  <a:cubicBezTo>
                    <a:pt x="424177" y="644527"/>
                    <a:pt x="427254" y="638896"/>
                    <a:pt x="431800" y="635000"/>
                  </a:cubicBezTo>
                  <a:cubicBezTo>
                    <a:pt x="435573" y="631766"/>
                    <a:pt x="455287" y="617186"/>
                    <a:pt x="461433" y="613834"/>
                  </a:cubicBezTo>
                  <a:cubicBezTo>
                    <a:pt x="472513" y="607790"/>
                    <a:pt x="483581" y="601587"/>
                    <a:pt x="495300" y="596900"/>
                  </a:cubicBezTo>
                  <a:cubicBezTo>
                    <a:pt x="502355" y="594078"/>
                    <a:pt x="509351" y="591102"/>
                    <a:pt x="516466" y="588434"/>
                  </a:cubicBezTo>
                  <a:cubicBezTo>
                    <a:pt x="520644" y="586867"/>
                    <a:pt x="525265" y="586367"/>
                    <a:pt x="529166" y="584200"/>
                  </a:cubicBezTo>
                  <a:cubicBezTo>
                    <a:pt x="538061" y="579258"/>
                    <a:pt x="546099" y="572911"/>
                    <a:pt x="554566" y="567267"/>
                  </a:cubicBezTo>
                  <a:cubicBezTo>
                    <a:pt x="576457" y="523487"/>
                    <a:pt x="552468" y="577022"/>
                    <a:pt x="567266" y="478367"/>
                  </a:cubicBezTo>
                  <a:cubicBezTo>
                    <a:pt x="568021" y="473335"/>
                    <a:pt x="571904" y="469017"/>
                    <a:pt x="575733" y="465667"/>
                  </a:cubicBezTo>
                  <a:cubicBezTo>
                    <a:pt x="577797" y="463861"/>
                    <a:pt x="609760" y="441733"/>
                    <a:pt x="618066" y="440267"/>
                  </a:cubicBezTo>
                  <a:cubicBezTo>
                    <a:pt x="636185" y="437070"/>
                    <a:pt x="654755" y="437445"/>
                    <a:pt x="673100" y="436034"/>
                  </a:cubicBezTo>
                  <a:cubicBezTo>
                    <a:pt x="678744" y="431801"/>
                    <a:pt x="684292" y="427435"/>
                    <a:pt x="690033" y="423334"/>
                  </a:cubicBezTo>
                  <a:cubicBezTo>
                    <a:pt x="694173" y="420377"/>
                    <a:pt x="698824" y="418124"/>
                    <a:pt x="702733" y="414867"/>
                  </a:cubicBezTo>
                  <a:cubicBezTo>
                    <a:pt x="707332" y="411034"/>
                    <a:pt x="711200" y="406400"/>
                    <a:pt x="715433" y="402167"/>
                  </a:cubicBezTo>
                  <a:cubicBezTo>
                    <a:pt x="727586" y="353551"/>
                    <a:pt x="710591" y="413465"/>
                    <a:pt x="728133" y="372534"/>
                  </a:cubicBezTo>
                  <a:cubicBezTo>
                    <a:pt x="737591" y="350465"/>
                    <a:pt x="725648" y="360615"/>
                    <a:pt x="740833" y="342900"/>
                  </a:cubicBezTo>
                  <a:cubicBezTo>
                    <a:pt x="746028" y="336839"/>
                    <a:pt x="750022" y="327903"/>
                    <a:pt x="757766" y="325967"/>
                  </a:cubicBezTo>
                  <a:cubicBezTo>
                    <a:pt x="779713" y="320481"/>
                    <a:pt x="802922" y="323145"/>
                    <a:pt x="825500" y="321734"/>
                  </a:cubicBezTo>
                  <a:cubicBezTo>
                    <a:pt x="836789" y="320323"/>
                    <a:pt x="848748" y="321584"/>
                    <a:pt x="859366" y="317500"/>
                  </a:cubicBezTo>
                  <a:cubicBezTo>
                    <a:pt x="880333" y="309436"/>
                    <a:pt x="880074" y="299701"/>
                    <a:pt x="889000" y="283634"/>
                  </a:cubicBezTo>
                  <a:cubicBezTo>
                    <a:pt x="892996" y="276441"/>
                    <a:pt x="896648" y="268962"/>
                    <a:pt x="901700" y="262467"/>
                  </a:cubicBezTo>
                  <a:cubicBezTo>
                    <a:pt x="906601" y="256166"/>
                    <a:pt x="913377" y="251541"/>
                    <a:pt x="918633" y="245534"/>
                  </a:cubicBezTo>
                  <a:cubicBezTo>
                    <a:pt x="923279" y="240224"/>
                    <a:pt x="927100" y="234245"/>
                    <a:pt x="931333" y="228600"/>
                  </a:cubicBezTo>
                  <a:cubicBezTo>
                    <a:pt x="943444" y="192264"/>
                    <a:pt x="924899" y="250103"/>
                    <a:pt x="939800" y="190500"/>
                  </a:cubicBezTo>
                  <a:cubicBezTo>
                    <a:pt x="941965" y="181842"/>
                    <a:pt x="943315" y="172526"/>
                    <a:pt x="948266" y="165100"/>
                  </a:cubicBezTo>
                  <a:cubicBezTo>
                    <a:pt x="953911" y="156633"/>
                    <a:pt x="956098" y="144251"/>
                    <a:pt x="965200" y="139700"/>
                  </a:cubicBezTo>
                  <a:cubicBezTo>
                    <a:pt x="977884" y="133358"/>
                    <a:pt x="993430" y="136951"/>
                    <a:pt x="1007533" y="135467"/>
                  </a:cubicBezTo>
                  <a:lnTo>
                    <a:pt x="1045633" y="131234"/>
                  </a:lnTo>
                  <a:cubicBezTo>
                    <a:pt x="1049866" y="129823"/>
                    <a:pt x="1055507" y="130454"/>
                    <a:pt x="1058333" y="127000"/>
                  </a:cubicBezTo>
                  <a:cubicBezTo>
                    <a:pt x="1068754" y="114264"/>
                    <a:pt x="1074605" y="98359"/>
                    <a:pt x="1083733" y="84667"/>
                  </a:cubicBezTo>
                  <a:cubicBezTo>
                    <a:pt x="1086555" y="80434"/>
                    <a:pt x="1089676" y="76385"/>
                    <a:pt x="1092200" y="71967"/>
                  </a:cubicBezTo>
                  <a:cubicBezTo>
                    <a:pt x="1095331" y="66488"/>
                    <a:pt x="1096204" y="59496"/>
                    <a:pt x="1100666" y="55034"/>
                  </a:cubicBezTo>
                  <a:cubicBezTo>
                    <a:pt x="1106484" y="49216"/>
                    <a:pt x="1114855" y="46695"/>
                    <a:pt x="1121833" y="42334"/>
                  </a:cubicBezTo>
                  <a:cubicBezTo>
                    <a:pt x="1126148" y="39637"/>
                    <a:pt x="1130300" y="36689"/>
                    <a:pt x="1134533" y="33867"/>
                  </a:cubicBezTo>
                  <a:cubicBezTo>
                    <a:pt x="1137355" y="29634"/>
                    <a:pt x="1138582" y="23691"/>
                    <a:pt x="1143000" y="21167"/>
                  </a:cubicBezTo>
                  <a:cubicBezTo>
                    <a:pt x="1149247" y="17597"/>
                    <a:pt x="1157429" y="19460"/>
                    <a:pt x="1164166" y="16934"/>
                  </a:cubicBezTo>
                  <a:cubicBezTo>
                    <a:pt x="1176740" y="12219"/>
                    <a:pt x="1176297" y="9605"/>
                    <a:pt x="1181100" y="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F26CF5C-0E2B-E37E-383E-06F47869FE9D}"/>
                </a:ext>
              </a:extLst>
            </p:cNvPr>
            <p:cNvSpPr/>
            <p:nvPr/>
          </p:nvSpPr>
          <p:spPr bwMode="gray">
            <a:xfrm>
              <a:off x="10682628" y="5200683"/>
              <a:ext cx="83810" cy="83885"/>
            </a:xfrm>
            <a:custGeom>
              <a:avLst/>
              <a:gdLst>
                <a:gd name="connsiteX0" fmla="*/ 0 w 110836"/>
                <a:gd name="connsiteY0" fmla="*/ 110936 h 110936"/>
                <a:gd name="connsiteX1" fmla="*/ 34636 w 110836"/>
                <a:gd name="connsiteY1" fmla="*/ 83227 h 110936"/>
                <a:gd name="connsiteX2" fmla="*/ 69273 w 110836"/>
                <a:gd name="connsiteY2" fmla="*/ 20882 h 110936"/>
                <a:gd name="connsiteX3" fmla="*/ 110836 w 110836"/>
                <a:gd name="connsiteY3" fmla="*/ 100 h 110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36" h="110936">
                  <a:moveTo>
                    <a:pt x="0" y="110936"/>
                  </a:moveTo>
                  <a:cubicBezTo>
                    <a:pt x="11545" y="101700"/>
                    <a:pt x="27186" y="95998"/>
                    <a:pt x="34636" y="83227"/>
                  </a:cubicBezTo>
                  <a:cubicBezTo>
                    <a:pt x="76124" y="12105"/>
                    <a:pt x="20509" y="37136"/>
                    <a:pt x="69273" y="20882"/>
                  </a:cubicBezTo>
                  <a:cubicBezTo>
                    <a:pt x="100676" y="-2671"/>
                    <a:pt x="85437" y="100"/>
                    <a:pt x="110836" y="10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0F773ED-3810-5309-EBC9-F846839CE505}"/>
                </a:ext>
              </a:extLst>
            </p:cNvPr>
            <p:cNvSpPr/>
            <p:nvPr/>
          </p:nvSpPr>
          <p:spPr bwMode="gray">
            <a:xfrm>
              <a:off x="10416938" y="5163795"/>
              <a:ext cx="371326" cy="35217"/>
            </a:xfrm>
            <a:custGeom>
              <a:avLst/>
              <a:gdLst>
                <a:gd name="connsiteX0" fmla="*/ 491067 w 491067"/>
                <a:gd name="connsiteY0" fmla="*/ 46574 h 46574"/>
                <a:gd name="connsiteX1" fmla="*/ 376767 w 491067"/>
                <a:gd name="connsiteY1" fmla="*/ 21174 h 46574"/>
                <a:gd name="connsiteX2" fmla="*/ 364067 w 491067"/>
                <a:gd name="connsiteY2" fmla="*/ 16941 h 46574"/>
                <a:gd name="connsiteX3" fmla="*/ 355600 w 491067"/>
                <a:gd name="connsiteY3" fmla="*/ 4241 h 46574"/>
                <a:gd name="connsiteX4" fmla="*/ 342900 w 491067"/>
                <a:gd name="connsiteY4" fmla="*/ 7 h 46574"/>
                <a:gd name="connsiteX5" fmla="*/ 215900 w 491067"/>
                <a:gd name="connsiteY5" fmla="*/ 8474 h 46574"/>
                <a:gd name="connsiteX6" fmla="*/ 173567 w 491067"/>
                <a:gd name="connsiteY6" fmla="*/ 21174 h 46574"/>
                <a:gd name="connsiteX7" fmla="*/ 160867 w 491067"/>
                <a:gd name="connsiteY7" fmla="*/ 25407 h 46574"/>
                <a:gd name="connsiteX8" fmla="*/ 143934 w 491067"/>
                <a:gd name="connsiteY8" fmla="*/ 29641 h 46574"/>
                <a:gd name="connsiteX9" fmla="*/ 0 w 491067"/>
                <a:gd name="connsiteY9" fmla="*/ 29641 h 4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067" h="46574">
                  <a:moveTo>
                    <a:pt x="491067" y="46574"/>
                  </a:moveTo>
                  <a:cubicBezTo>
                    <a:pt x="465896" y="41540"/>
                    <a:pt x="403675" y="30143"/>
                    <a:pt x="376767" y="21174"/>
                  </a:cubicBezTo>
                  <a:lnTo>
                    <a:pt x="364067" y="16941"/>
                  </a:lnTo>
                  <a:cubicBezTo>
                    <a:pt x="361245" y="12708"/>
                    <a:pt x="359573" y="7419"/>
                    <a:pt x="355600" y="4241"/>
                  </a:cubicBezTo>
                  <a:cubicBezTo>
                    <a:pt x="352115" y="1453"/>
                    <a:pt x="347360" y="-128"/>
                    <a:pt x="342900" y="7"/>
                  </a:cubicBezTo>
                  <a:cubicBezTo>
                    <a:pt x="300492" y="1292"/>
                    <a:pt x="258233" y="5652"/>
                    <a:pt x="215900" y="8474"/>
                  </a:cubicBezTo>
                  <a:lnTo>
                    <a:pt x="173567" y="21174"/>
                  </a:lnTo>
                  <a:cubicBezTo>
                    <a:pt x="169302" y="22486"/>
                    <a:pt x="165158" y="24181"/>
                    <a:pt x="160867" y="25407"/>
                  </a:cubicBezTo>
                  <a:cubicBezTo>
                    <a:pt x="155273" y="27005"/>
                    <a:pt x="149750" y="29488"/>
                    <a:pt x="143934" y="29641"/>
                  </a:cubicBezTo>
                  <a:cubicBezTo>
                    <a:pt x="95973" y="30903"/>
                    <a:pt x="47978" y="29641"/>
                    <a:pt x="0" y="29641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7881267-EB5E-121E-2CD5-AEF399AD65A1}"/>
                </a:ext>
              </a:extLst>
            </p:cNvPr>
            <p:cNvSpPr/>
            <p:nvPr/>
          </p:nvSpPr>
          <p:spPr bwMode="gray">
            <a:xfrm>
              <a:off x="10964393" y="5150788"/>
              <a:ext cx="106596" cy="17286"/>
            </a:xfrm>
            <a:custGeom>
              <a:avLst/>
              <a:gdLst>
                <a:gd name="connsiteX0" fmla="*/ 0 w 140970"/>
                <a:gd name="connsiteY0" fmla="*/ 0 h 22860"/>
                <a:gd name="connsiteX1" fmla="*/ 19050 w 140970"/>
                <a:gd name="connsiteY1" fmla="*/ 11430 h 22860"/>
                <a:gd name="connsiteX2" fmla="*/ 34290 w 140970"/>
                <a:gd name="connsiteY2" fmla="*/ 15240 h 22860"/>
                <a:gd name="connsiteX3" fmla="*/ 118110 w 140970"/>
                <a:gd name="connsiteY3" fmla="*/ 19050 h 22860"/>
                <a:gd name="connsiteX4" fmla="*/ 140970 w 140970"/>
                <a:gd name="connsiteY4" fmla="*/ 22860 h 2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70" h="22860">
                  <a:moveTo>
                    <a:pt x="0" y="0"/>
                  </a:moveTo>
                  <a:cubicBezTo>
                    <a:pt x="6350" y="3810"/>
                    <a:pt x="12283" y="8422"/>
                    <a:pt x="19050" y="11430"/>
                  </a:cubicBezTo>
                  <a:cubicBezTo>
                    <a:pt x="23835" y="13557"/>
                    <a:pt x="29069" y="14838"/>
                    <a:pt x="34290" y="15240"/>
                  </a:cubicBezTo>
                  <a:cubicBezTo>
                    <a:pt x="62176" y="17385"/>
                    <a:pt x="90170" y="17780"/>
                    <a:pt x="118110" y="19050"/>
                  </a:cubicBezTo>
                  <a:lnTo>
                    <a:pt x="140970" y="22860"/>
                  </a:lnTo>
                </a:path>
              </a:pathLst>
            </a:custGeom>
            <a:solidFill>
              <a:srgbClr val="0097A9"/>
            </a:solidFill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643FDC-3E7F-1947-379B-74E9D3E451FA}"/>
                </a:ext>
              </a:extLst>
            </p:cNvPr>
            <p:cNvSpPr/>
            <p:nvPr/>
          </p:nvSpPr>
          <p:spPr bwMode="gray">
            <a:xfrm>
              <a:off x="11439753" y="5009683"/>
              <a:ext cx="121574" cy="54885"/>
            </a:xfrm>
            <a:custGeom>
              <a:avLst/>
              <a:gdLst>
                <a:gd name="connsiteX0" fmla="*/ 0 w 171450"/>
                <a:gd name="connsiteY0" fmla="*/ 80013 h 80013"/>
                <a:gd name="connsiteX1" fmla="*/ 41910 w 171450"/>
                <a:gd name="connsiteY1" fmla="*/ 60963 h 80013"/>
                <a:gd name="connsiteX2" fmla="*/ 118110 w 171450"/>
                <a:gd name="connsiteY2" fmla="*/ 53343 h 80013"/>
                <a:gd name="connsiteX3" fmla="*/ 133350 w 171450"/>
                <a:gd name="connsiteY3" fmla="*/ 30483 h 80013"/>
                <a:gd name="connsiteX4" fmla="*/ 140970 w 171450"/>
                <a:gd name="connsiteY4" fmla="*/ 19053 h 80013"/>
                <a:gd name="connsiteX5" fmla="*/ 144780 w 171450"/>
                <a:gd name="connsiteY5" fmla="*/ 7623 h 80013"/>
                <a:gd name="connsiteX6" fmla="*/ 171450 w 171450"/>
                <a:gd name="connsiteY6" fmla="*/ 3 h 8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450" h="80013">
                  <a:moveTo>
                    <a:pt x="0" y="80013"/>
                  </a:moveTo>
                  <a:cubicBezTo>
                    <a:pt x="8827" y="75600"/>
                    <a:pt x="31126" y="63659"/>
                    <a:pt x="41910" y="60963"/>
                  </a:cubicBezTo>
                  <a:cubicBezTo>
                    <a:pt x="58315" y="56862"/>
                    <a:pt x="108780" y="54061"/>
                    <a:pt x="118110" y="53343"/>
                  </a:cubicBezTo>
                  <a:lnTo>
                    <a:pt x="133350" y="30483"/>
                  </a:lnTo>
                  <a:cubicBezTo>
                    <a:pt x="135890" y="26673"/>
                    <a:pt x="139522" y="23397"/>
                    <a:pt x="140970" y="19053"/>
                  </a:cubicBezTo>
                  <a:cubicBezTo>
                    <a:pt x="142240" y="15243"/>
                    <a:pt x="141512" y="9957"/>
                    <a:pt x="144780" y="7623"/>
                  </a:cubicBezTo>
                  <a:cubicBezTo>
                    <a:pt x="156010" y="-399"/>
                    <a:pt x="161637" y="3"/>
                    <a:pt x="171450" y="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3929E675-6A12-2C9B-1684-E244612A017B}"/>
                </a:ext>
              </a:extLst>
            </p:cNvPr>
            <p:cNvSpPr/>
            <p:nvPr/>
          </p:nvSpPr>
          <p:spPr bwMode="gray">
            <a:xfrm>
              <a:off x="10111235" y="4882106"/>
              <a:ext cx="302502" cy="297700"/>
            </a:xfrm>
            <a:custGeom>
              <a:avLst/>
              <a:gdLst>
                <a:gd name="connsiteX0" fmla="*/ 0 w 400050"/>
                <a:gd name="connsiteY0" fmla="*/ 0 h 393700"/>
                <a:gd name="connsiteX1" fmla="*/ 38100 w 400050"/>
                <a:gd name="connsiteY1" fmla="*/ 19050 h 393700"/>
                <a:gd name="connsiteX2" fmla="*/ 101600 w 400050"/>
                <a:gd name="connsiteY2" fmla="*/ 57150 h 393700"/>
                <a:gd name="connsiteX3" fmla="*/ 165100 w 400050"/>
                <a:gd name="connsiteY3" fmla="*/ 152400 h 393700"/>
                <a:gd name="connsiteX4" fmla="*/ 222250 w 400050"/>
                <a:gd name="connsiteY4" fmla="*/ 209550 h 393700"/>
                <a:gd name="connsiteX5" fmla="*/ 241300 w 400050"/>
                <a:gd name="connsiteY5" fmla="*/ 222250 h 393700"/>
                <a:gd name="connsiteX6" fmla="*/ 298450 w 400050"/>
                <a:gd name="connsiteY6" fmla="*/ 260350 h 393700"/>
                <a:gd name="connsiteX7" fmla="*/ 323850 w 400050"/>
                <a:gd name="connsiteY7" fmla="*/ 279400 h 393700"/>
                <a:gd name="connsiteX8" fmla="*/ 374650 w 400050"/>
                <a:gd name="connsiteY8" fmla="*/ 317500 h 393700"/>
                <a:gd name="connsiteX9" fmla="*/ 387350 w 400050"/>
                <a:gd name="connsiteY9" fmla="*/ 342900 h 393700"/>
                <a:gd name="connsiteX10" fmla="*/ 393700 w 400050"/>
                <a:gd name="connsiteY10" fmla="*/ 374650 h 393700"/>
                <a:gd name="connsiteX11" fmla="*/ 400050 w 400050"/>
                <a:gd name="connsiteY11" fmla="*/ 393700 h 39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050" h="393700">
                  <a:moveTo>
                    <a:pt x="0" y="0"/>
                  </a:moveTo>
                  <a:cubicBezTo>
                    <a:pt x="12700" y="6350"/>
                    <a:pt x="25724" y="12089"/>
                    <a:pt x="38100" y="19050"/>
                  </a:cubicBezTo>
                  <a:cubicBezTo>
                    <a:pt x="59614" y="31152"/>
                    <a:pt x="101600" y="57150"/>
                    <a:pt x="101600" y="57150"/>
                  </a:cubicBezTo>
                  <a:lnTo>
                    <a:pt x="165100" y="152400"/>
                  </a:lnTo>
                  <a:cubicBezTo>
                    <a:pt x="249767" y="220133"/>
                    <a:pt x="146050" y="133350"/>
                    <a:pt x="222250" y="209550"/>
                  </a:cubicBezTo>
                  <a:cubicBezTo>
                    <a:pt x="227646" y="214946"/>
                    <a:pt x="235195" y="217671"/>
                    <a:pt x="241300" y="222250"/>
                  </a:cubicBezTo>
                  <a:cubicBezTo>
                    <a:pt x="349822" y="303642"/>
                    <a:pt x="212470" y="206613"/>
                    <a:pt x="298450" y="260350"/>
                  </a:cubicBezTo>
                  <a:cubicBezTo>
                    <a:pt x="307425" y="265959"/>
                    <a:pt x="314875" y="273791"/>
                    <a:pt x="323850" y="279400"/>
                  </a:cubicBezTo>
                  <a:cubicBezTo>
                    <a:pt x="354392" y="298489"/>
                    <a:pt x="349599" y="284099"/>
                    <a:pt x="374650" y="317500"/>
                  </a:cubicBezTo>
                  <a:cubicBezTo>
                    <a:pt x="380330" y="325073"/>
                    <a:pt x="383117" y="334433"/>
                    <a:pt x="387350" y="342900"/>
                  </a:cubicBezTo>
                  <a:cubicBezTo>
                    <a:pt x="389467" y="353483"/>
                    <a:pt x="391082" y="364179"/>
                    <a:pt x="393700" y="374650"/>
                  </a:cubicBezTo>
                  <a:cubicBezTo>
                    <a:pt x="395323" y="381144"/>
                    <a:pt x="400050" y="393700"/>
                    <a:pt x="400050" y="393700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3B685BA-3713-617A-C42E-A1386D17166B}"/>
                </a:ext>
              </a:extLst>
            </p:cNvPr>
            <p:cNvSpPr/>
            <p:nvPr/>
          </p:nvSpPr>
          <p:spPr bwMode="gray">
            <a:xfrm>
              <a:off x="10425615" y="5084737"/>
              <a:ext cx="81665" cy="81665"/>
            </a:xfrm>
            <a:prstGeom prst="ellipse">
              <a:avLst/>
            </a:prstGeom>
            <a:solidFill>
              <a:srgbClr val="75787B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12F29C2D-7D8A-02FE-C383-682AC058BD44}"/>
                </a:ext>
              </a:extLst>
            </p:cNvPr>
            <p:cNvSpPr/>
            <p:nvPr/>
          </p:nvSpPr>
          <p:spPr bwMode="gray">
            <a:xfrm>
              <a:off x="10697903" y="5535398"/>
              <a:ext cx="79226" cy="284497"/>
            </a:xfrm>
            <a:custGeom>
              <a:avLst/>
              <a:gdLst>
                <a:gd name="connsiteX0" fmla="*/ 0 w 104775"/>
                <a:gd name="connsiteY0" fmla="*/ 0 h 376238"/>
                <a:gd name="connsiteX1" fmla="*/ 9525 w 104775"/>
                <a:gd name="connsiteY1" fmla="*/ 80963 h 376238"/>
                <a:gd name="connsiteX2" fmla="*/ 33338 w 104775"/>
                <a:gd name="connsiteY2" fmla="*/ 119063 h 376238"/>
                <a:gd name="connsiteX3" fmla="*/ 47625 w 104775"/>
                <a:gd name="connsiteY3" fmla="*/ 142875 h 376238"/>
                <a:gd name="connsiteX4" fmla="*/ 57150 w 104775"/>
                <a:gd name="connsiteY4" fmla="*/ 161925 h 376238"/>
                <a:gd name="connsiteX5" fmla="*/ 71438 w 104775"/>
                <a:gd name="connsiteY5" fmla="*/ 185738 h 376238"/>
                <a:gd name="connsiteX6" fmla="*/ 80963 w 104775"/>
                <a:gd name="connsiteY6" fmla="*/ 204788 h 376238"/>
                <a:gd name="connsiteX7" fmla="*/ 95250 w 104775"/>
                <a:gd name="connsiteY7" fmla="*/ 228600 h 376238"/>
                <a:gd name="connsiteX8" fmla="*/ 104775 w 104775"/>
                <a:gd name="connsiteY8" fmla="*/ 261938 h 376238"/>
                <a:gd name="connsiteX9" fmla="*/ 100013 w 104775"/>
                <a:gd name="connsiteY9" fmla="*/ 323850 h 376238"/>
                <a:gd name="connsiteX10" fmla="*/ 85725 w 104775"/>
                <a:gd name="connsiteY10" fmla="*/ 352425 h 376238"/>
                <a:gd name="connsiteX11" fmla="*/ 66675 w 104775"/>
                <a:gd name="connsiteY11" fmla="*/ 376238 h 376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75" h="376238">
                  <a:moveTo>
                    <a:pt x="0" y="0"/>
                  </a:moveTo>
                  <a:cubicBezTo>
                    <a:pt x="3175" y="26988"/>
                    <a:pt x="2198" y="54796"/>
                    <a:pt x="9525" y="80963"/>
                  </a:cubicBezTo>
                  <a:cubicBezTo>
                    <a:pt x="13563" y="95385"/>
                    <a:pt x="25633" y="106221"/>
                    <a:pt x="33338" y="119063"/>
                  </a:cubicBezTo>
                  <a:cubicBezTo>
                    <a:pt x="38100" y="127000"/>
                    <a:pt x="43130" y="134783"/>
                    <a:pt x="47625" y="142875"/>
                  </a:cubicBezTo>
                  <a:cubicBezTo>
                    <a:pt x="51073" y="149081"/>
                    <a:pt x="53702" y="155719"/>
                    <a:pt x="57150" y="161925"/>
                  </a:cubicBezTo>
                  <a:cubicBezTo>
                    <a:pt x="61646" y="170017"/>
                    <a:pt x="66942" y="177646"/>
                    <a:pt x="71438" y="185738"/>
                  </a:cubicBezTo>
                  <a:cubicBezTo>
                    <a:pt x="74886" y="191944"/>
                    <a:pt x="77515" y="198582"/>
                    <a:pt x="80963" y="204788"/>
                  </a:cubicBezTo>
                  <a:cubicBezTo>
                    <a:pt x="85458" y="212880"/>
                    <a:pt x="91110" y="220321"/>
                    <a:pt x="95250" y="228600"/>
                  </a:cubicBezTo>
                  <a:cubicBezTo>
                    <a:pt x="98668" y="235436"/>
                    <a:pt x="103248" y="255829"/>
                    <a:pt x="104775" y="261938"/>
                  </a:cubicBezTo>
                  <a:cubicBezTo>
                    <a:pt x="103188" y="282575"/>
                    <a:pt x="102580" y="303312"/>
                    <a:pt x="100013" y="323850"/>
                  </a:cubicBezTo>
                  <a:cubicBezTo>
                    <a:pt x="98583" y="335288"/>
                    <a:pt x="92171" y="343401"/>
                    <a:pt x="85725" y="352425"/>
                  </a:cubicBezTo>
                  <a:cubicBezTo>
                    <a:pt x="72695" y="370667"/>
                    <a:pt x="76314" y="366599"/>
                    <a:pt x="66675" y="376238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DD1A038-FF71-0B2D-D4C3-788E14D09948}"/>
                </a:ext>
              </a:extLst>
            </p:cNvPr>
            <p:cNvSpPr/>
            <p:nvPr/>
          </p:nvSpPr>
          <p:spPr bwMode="gray">
            <a:xfrm>
              <a:off x="11263294" y="4984413"/>
              <a:ext cx="295300" cy="111637"/>
            </a:xfrm>
            <a:custGeom>
              <a:avLst/>
              <a:gdLst>
                <a:gd name="connsiteX0" fmla="*/ 0 w 390525"/>
                <a:gd name="connsiteY0" fmla="*/ 147637 h 147637"/>
                <a:gd name="connsiteX1" fmla="*/ 52387 w 390525"/>
                <a:gd name="connsiteY1" fmla="*/ 142875 h 147637"/>
                <a:gd name="connsiteX2" fmla="*/ 66675 w 390525"/>
                <a:gd name="connsiteY2" fmla="*/ 138112 h 147637"/>
                <a:gd name="connsiteX3" fmla="*/ 90487 w 390525"/>
                <a:gd name="connsiteY3" fmla="*/ 114300 h 147637"/>
                <a:gd name="connsiteX4" fmla="*/ 109537 w 390525"/>
                <a:gd name="connsiteY4" fmla="*/ 100012 h 147637"/>
                <a:gd name="connsiteX5" fmla="*/ 119062 w 390525"/>
                <a:gd name="connsiteY5" fmla="*/ 85725 h 147637"/>
                <a:gd name="connsiteX6" fmla="*/ 147637 w 390525"/>
                <a:gd name="connsiteY6" fmla="*/ 76200 h 147637"/>
                <a:gd name="connsiteX7" fmla="*/ 176212 w 390525"/>
                <a:gd name="connsiteY7" fmla="*/ 61912 h 147637"/>
                <a:gd name="connsiteX8" fmla="*/ 204787 w 390525"/>
                <a:gd name="connsiteY8" fmla="*/ 57150 h 147637"/>
                <a:gd name="connsiteX9" fmla="*/ 280987 w 390525"/>
                <a:gd name="connsiteY9" fmla="*/ 42862 h 147637"/>
                <a:gd name="connsiteX10" fmla="*/ 300037 w 390525"/>
                <a:gd name="connsiteY10" fmla="*/ 38100 h 147637"/>
                <a:gd name="connsiteX11" fmla="*/ 347662 w 390525"/>
                <a:gd name="connsiteY11" fmla="*/ 28575 h 147637"/>
                <a:gd name="connsiteX12" fmla="*/ 361950 w 390525"/>
                <a:gd name="connsiteY12" fmla="*/ 23812 h 147637"/>
                <a:gd name="connsiteX13" fmla="*/ 390525 w 390525"/>
                <a:gd name="connsiteY13" fmla="*/ 0 h 14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0525" h="147637">
                  <a:moveTo>
                    <a:pt x="0" y="147637"/>
                  </a:moveTo>
                  <a:cubicBezTo>
                    <a:pt x="17462" y="146050"/>
                    <a:pt x="35029" y="145355"/>
                    <a:pt x="52387" y="142875"/>
                  </a:cubicBezTo>
                  <a:cubicBezTo>
                    <a:pt x="57357" y="142165"/>
                    <a:pt x="62659" y="141124"/>
                    <a:pt x="66675" y="138112"/>
                  </a:cubicBezTo>
                  <a:cubicBezTo>
                    <a:pt x="75655" y="131377"/>
                    <a:pt x="82097" y="121758"/>
                    <a:pt x="90487" y="114300"/>
                  </a:cubicBezTo>
                  <a:cubicBezTo>
                    <a:pt x="96420" y="109027"/>
                    <a:pt x="103924" y="105625"/>
                    <a:pt x="109537" y="100012"/>
                  </a:cubicBezTo>
                  <a:cubicBezTo>
                    <a:pt x="113584" y="95965"/>
                    <a:pt x="114208" y="88758"/>
                    <a:pt x="119062" y="85725"/>
                  </a:cubicBezTo>
                  <a:cubicBezTo>
                    <a:pt x="127576" y="80404"/>
                    <a:pt x="138369" y="80062"/>
                    <a:pt x="147637" y="76200"/>
                  </a:cubicBezTo>
                  <a:cubicBezTo>
                    <a:pt x="157467" y="72104"/>
                    <a:pt x="166109" y="65280"/>
                    <a:pt x="176212" y="61912"/>
                  </a:cubicBezTo>
                  <a:cubicBezTo>
                    <a:pt x="185373" y="58858"/>
                    <a:pt x="195378" y="59321"/>
                    <a:pt x="204787" y="57150"/>
                  </a:cubicBezTo>
                  <a:cubicBezTo>
                    <a:pt x="273609" y="41269"/>
                    <a:pt x="199695" y="51895"/>
                    <a:pt x="280987" y="42862"/>
                  </a:cubicBezTo>
                  <a:cubicBezTo>
                    <a:pt x="287337" y="41275"/>
                    <a:pt x="293637" y="39471"/>
                    <a:pt x="300037" y="38100"/>
                  </a:cubicBezTo>
                  <a:cubicBezTo>
                    <a:pt x="315867" y="34708"/>
                    <a:pt x="331887" y="32215"/>
                    <a:pt x="347662" y="28575"/>
                  </a:cubicBezTo>
                  <a:cubicBezTo>
                    <a:pt x="352554" y="27446"/>
                    <a:pt x="357187" y="25400"/>
                    <a:pt x="361950" y="23812"/>
                  </a:cubicBezTo>
                  <a:cubicBezTo>
                    <a:pt x="383510" y="2252"/>
                    <a:pt x="372968" y="8778"/>
                    <a:pt x="390525" y="0"/>
                  </a:cubicBezTo>
                </a:path>
              </a:pathLst>
            </a:custGeom>
            <a:noFill/>
            <a:ln w="381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37D6B5A-A33D-DF1E-ADEE-D6E4D92DB30A}"/>
                </a:ext>
              </a:extLst>
            </p:cNvPr>
            <p:cNvSpPr/>
            <p:nvPr/>
          </p:nvSpPr>
          <p:spPr bwMode="gray">
            <a:xfrm>
              <a:off x="11598207" y="4937597"/>
              <a:ext cx="198067" cy="54019"/>
            </a:xfrm>
            <a:custGeom>
              <a:avLst/>
              <a:gdLst>
                <a:gd name="connsiteX0" fmla="*/ 261938 w 261938"/>
                <a:gd name="connsiteY0" fmla="*/ 0 h 71438"/>
                <a:gd name="connsiteX1" fmla="*/ 209550 w 261938"/>
                <a:gd name="connsiteY1" fmla="*/ 23813 h 71438"/>
                <a:gd name="connsiteX2" fmla="*/ 176213 w 261938"/>
                <a:gd name="connsiteY2" fmla="*/ 33338 h 71438"/>
                <a:gd name="connsiteX3" fmla="*/ 161925 w 261938"/>
                <a:gd name="connsiteY3" fmla="*/ 38100 h 71438"/>
                <a:gd name="connsiteX4" fmla="*/ 152400 w 261938"/>
                <a:gd name="connsiteY4" fmla="*/ 57150 h 71438"/>
                <a:gd name="connsiteX5" fmla="*/ 119063 w 261938"/>
                <a:gd name="connsiteY5" fmla="*/ 71438 h 71438"/>
                <a:gd name="connsiteX6" fmla="*/ 42863 w 261938"/>
                <a:gd name="connsiteY6" fmla="*/ 66675 h 71438"/>
                <a:gd name="connsiteX7" fmla="*/ 9525 w 261938"/>
                <a:gd name="connsiteY7" fmla="*/ 38100 h 71438"/>
                <a:gd name="connsiteX8" fmla="*/ 0 w 261938"/>
                <a:gd name="connsiteY8" fmla="*/ 47625 h 7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938" h="71438">
                  <a:moveTo>
                    <a:pt x="261938" y="0"/>
                  </a:moveTo>
                  <a:cubicBezTo>
                    <a:pt x="191893" y="28017"/>
                    <a:pt x="291045" y="-12407"/>
                    <a:pt x="209550" y="23813"/>
                  </a:cubicBezTo>
                  <a:cubicBezTo>
                    <a:pt x="199280" y="28377"/>
                    <a:pt x="186798" y="30314"/>
                    <a:pt x="176213" y="33338"/>
                  </a:cubicBezTo>
                  <a:cubicBezTo>
                    <a:pt x="171386" y="34717"/>
                    <a:pt x="166688" y="36513"/>
                    <a:pt x="161925" y="38100"/>
                  </a:cubicBezTo>
                  <a:cubicBezTo>
                    <a:pt x="158750" y="44450"/>
                    <a:pt x="156945" y="51696"/>
                    <a:pt x="152400" y="57150"/>
                  </a:cubicBezTo>
                  <a:cubicBezTo>
                    <a:pt x="143745" y="67536"/>
                    <a:pt x="130997" y="68454"/>
                    <a:pt x="119063" y="71438"/>
                  </a:cubicBezTo>
                  <a:cubicBezTo>
                    <a:pt x="93663" y="69850"/>
                    <a:pt x="67239" y="73988"/>
                    <a:pt x="42863" y="66675"/>
                  </a:cubicBezTo>
                  <a:cubicBezTo>
                    <a:pt x="30209" y="62879"/>
                    <a:pt x="28748" y="34256"/>
                    <a:pt x="9525" y="38100"/>
                  </a:cubicBezTo>
                  <a:cubicBezTo>
                    <a:pt x="5122" y="38980"/>
                    <a:pt x="3175" y="44450"/>
                    <a:pt x="0" y="47625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28C472B4-3F22-A097-0F6F-04BDD70E274F}"/>
                </a:ext>
              </a:extLst>
            </p:cNvPr>
            <p:cNvSpPr/>
            <p:nvPr/>
          </p:nvSpPr>
          <p:spPr bwMode="gray">
            <a:xfrm>
              <a:off x="11515379" y="4840364"/>
              <a:ext cx="43215" cy="133244"/>
            </a:xfrm>
            <a:custGeom>
              <a:avLst/>
              <a:gdLst>
                <a:gd name="connsiteX0" fmla="*/ 0 w 57150"/>
                <a:gd name="connsiteY0" fmla="*/ 0 h 176212"/>
                <a:gd name="connsiteX1" fmla="*/ 9525 w 57150"/>
                <a:gd name="connsiteY1" fmla="*/ 114300 h 176212"/>
                <a:gd name="connsiteX2" fmla="*/ 23812 w 57150"/>
                <a:gd name="connsiteY2" fmla="*/ 128587 h 176212"/>
                <a:gd name="connsiteX3" fmla="*/ 42862 w 57150"/>
                <a:gd name="connsiteY3" fmla="*/ 161925 h 176212"/>
                <a:gd name="connsiteX4" fmla="*/ 57150 w 57150"/>
                <a:gd name="connsiteY4" fmla="*/ 176212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176212">
                  <a:moveTo>
                    <a:pt x="0" y="0"/>
                  </a:moveTo>
                  <a:cubicBezTo>
                    <a:pt x="3175" y="38100"/>
                    <a:pt x="2563" y="76707"/>
                    <a:pt x="9525" y="114300"/>
                  </a:cubicBezTo>
                  <a:cubicBezTo>
                    <a:pt x="10751" y="120922"/>
                    <a:pt x="19500" y="123413"/>
                    <a:pt x="23812" y="128587"/>
                  </a:cubicBezTo>
                  <a:cubicBezTo>
                    <a:pt x="46315" y="155591"/>
                    <a:pt x="19565" y="129311"/>
                    <a:pt x="42862" y="161925"/>
                  </a:cubicBezTo>
                  <a:cubicBezTo>
                    <a:pt x="46777" y="167406"/>
                    <a:pt x="57150" y="176212"/>
                    <a:pt x="57150" y="176212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917EAA7C-CE13-78DE-288F-C6E26E89FE64}"/>
                </a:ext>
              </a:extLst>
            </p:cNvPr>
            <p:cNvSpPr/>
            <p:nvPr/>
          </p:nvSpPr>
          <p:spPr bwMode="gray">
            <a:xfrm>
              <a:off x="10467425" y="4419022"/>
              <a:ext cx="842685" cy="767059"/>
            </a:xfrm>
            <a:custGeom>
              <a:avLst/>
              <a:gdLst>
                <a:gd name="connsiteX0" fmla="*/ 0 w 1114425"/>
                <a:gd name="connsiteY0" fmla="*/ 1014413 h 1014413"/>
                <a:gd name="connsiteX1" fmla="*/ 14288 w 1114425"/>
                <a:gd name="connsiteY1" fmla="*/ 990600 h 1014413"/>
                <a:gd name="connsiteX2" fmla="*/ 23813 w 1114425"/>
                <a:gd name="connsiteY2" fmla="*/ 971550 h 1014413"/>
                <a:gd name="connsiteX3" fmla="*/ 38100 w 1114425"/>
                <a:gd name="connsiteY3" fmla="*/ 952500 h 1014413"/>
                <a:gd name="connsiteX4" fmla="*/ 52388 w 1114425"/>
                <a:gd name="connsiteY4" fmla="*/ 909638 h 1014413"/>
                <a:gd name="connsiteX5" fmla="*/ 61913 w 1114425"/>
                <a:gd name="connsiteY5" fmla="*/ 862013 h 1014413"/>
                <a:gd name="connsiteX6" fmla="*/ 57150 w 1114425"/>
                <a:gd name="connsiteY6" fmla="*/ 762000 h 1014413"/>
                <a:gd name="connsiteX7" fmla="*/ 42863 w 1114425"/>
                <a:gd name="connsiteY7" fmla="*/ 709613 h 1014413"/>
                <a:gd name="connsiteX8" fmla="*/ 38100 w 1114425"/>
                <a:gd name="connsiteY8" fmla="*/ 695325 h 1014413"/>
                <a:gd name="connsiteX9" fmla="*/ 52388 w 1114425"/>
                <a:gd name="connsiteY9" fmla="*/ 685800 h 1014413"/>
                <a:gd name="connsiteX10" fmla="*/ 80963 w 1114425"/>
                <a:gd name="connsiteY10" fmla="*/ 681038 h 1014413"/>
                <a:gd name="connsiteX11" fmla="*/ 95250 w 1114425"/>
                <a:gd name="connsiteY11" fmla="*/ 614363 h 1014413"/>
                <a:gd name="connsiteX12" fmla="*/ 114300 w 1114425"/>
                <a:gd name="connsiteY12" fmla="*/ 609600 h 1014413"/>
                <a:gd name="connsiteX13" fmla="*/ 128588 w 1114425"/>
                <a:gd name="connsiteY13" fmla="*/ 604838 h 1014413"/>
                <a:gd name="connsiteX14" fmla="*/ 152400 w 1114425"/>
                <a:gd name="connsiteY14" fmla="*/ 590550 h 1014413"/>
                <a:gd name="connsiteX15" fmla="*/ 171450 w 1114425"/>
                <a:gd name="connsiteY15" fmla="*/ 581025 h 1014413"/>
                <a:gd name="connsiteX16" fmla="*/ 209550 w 1114425"/>
                <a:gd name="connsiteY16" fmla="*/ 557213 h 1014413"/>
                <a:gd name="connsiteX17" fmla="*/ 233363 w 1114425"/>
                <a:gd name="connsiteY17" fmla="*/ 538163 h 1014413"/>
                <a:gd name="connsiteX18" fmla="*/ 252413 w 1114425"/>
                <a:gd name="connsiteY18" fmla="*/ 533400 h 1014413"/>
                <a:gd name="connsiteX19" fmla="*/ 276225 w 1114425"/>
                <a:gd name="connsiteY19" fmla="*/ 519113 h 1014413"/>
                <a:gd name="connsiteX20" fmla="*/ 290513 w 1114425"/>
                <a:gd name="connsiteY20" fmla="*/ 514350 h 1014413"/>
                <a:gd name="connsiteX21" fmla="*/ 323850 w 1114425"/>
                <a:gd name="connsiteY21" fmla="*/ 495300 h 1014413"/>
                <a:gd name="connsiteX22" fmla="*/ 333375 w 1114425"/>
                <a:gd name="connsiteY22" fmla="*/ 481013 h 1014413"/>
                <a:gd name="connsiteX23" fmla="*/ 366713 w 1114425"/>
                <a:gd name="connsiteY23" fmla="*/ 452438 h 1014413"/>
                <a:gd name="connsiteX24" fmla="*/ 385763 w 1114425"/>
                <a:gd name="connsiteY24" fmla="*/ 447675 h 1014413"/>
                <a:gd name="connsiteX25" fmla="*/ 400050 w 1114425"/>
                <a:gd name="connsiteY25" fmla="*/ 442913 h 1014413"/>
                <a:gd name="connsiteX26" fmla="*/ 414338 w 1114425"/>
                <a:gd name="connsiteY26" fmla="*/ 433388 h 1014413"/>
                <a:gd name="connsiteX27" fmla="*/ 414338 w 1114425"/>
                <a:gd name="connsiteY27" fmla="*/ 352425 h 1014413"/>
                <a:gd name="connsiteX28" fmla="*/ 433388 w 1114425"/>
                <a:gd name="connsiteY28" fmla="*/ 347663 h 1014413"/>
                <a:gd name="connsiteX29" fmla="*/ 461963 w 1114425"/>
                <a:gd name="connsiteY29" fmla="*/ 338138 h 1014413"/>
                <a:gd name="connsiteX30" fmla="*/ 552450 w 1114425"/>
                <a:gd name="connsiteY30" fmla="*/ 333375 h 1014413"/>
                <a:gd name="connsiteX31" fmla="*/ 595313 w 1114425"/>
                <a:gd name="connsiteY31" fmla="*/ 309563 h 1014413"/>
                <a:gd name="connsiteX32" fmla="*/ 628650 w 1114425"/>
                <a:gd name="connsiteY32" fmla="*/ 304800 h 1014413"/>
                <a:gd name="connsiteX33" fmla="*/ 690563 w 1114425"/>
                <a:gd name="connsiteY33" fmla="*/ 290513 h 1014413"/>
                <a:gd name="connsiteX34" fmla="*/ 719138 w 1114425"/>
                <a:gd name="connsiteY34" fmla="*/ 276225 h 1014413"/>
                <a:gd name="connsiteX35" fmla="*/ 738188 w 1114425"/>
                <a:gd name="connsiteY35" fmla="*/ 271463 h 1014413"/>
                <a:gd name="connsiteX36" fmla="*/ 776288 w 1114425"/>
                <a:gd name="connsiteY36" fmla="*/ 242888 h 1014413"/>
                <a:gd name="connsiteX37" fmla="*/ 790575 w 1114425"/>
                <a:gd name="connsiteY37" fmla="*/ 238125 h 1014413"/>
                <a:gd name="connsiteX38" fmla="*/ 814388 w 1114425"/>
                <a:gd name="connsiteY38" fmla="*/ 228600 h 1014413"/>
                <a:gd name="connsiteX39" fmla="*/ 828675 w 1114425"/>
                <a:gd name="connsiteY39" fmla="*/ 223838 h 1014413"/>
                <a:gd name="connsiteX40" fmla="*/ 847725 w 1114425"/>
                <a:gd name="connsiteY40" fmla="*/ 214313 h 1014413"/>
                <a:gd name="connsiteX41" fmla="*/ 857250 w 1114425"/>
                <a:gd name="connsiteY41" fmla="*/ 200025 h 1014413"/>
                <a:gd name="connsiteX42" fmla="*/ 876300 w 1114425"/>
                <a:gd name="connsiteY42" fmla="*/ 190500 h 1014413"/>
                <a:gd name="connsiteX43" fmla="*/ 890588 w 1114425"/>
                <a:gd name="connsiteY43" fmla="*/ 180975 h 1014413"/>
                <a:gd name="connsiteX44" fmla="*/ 895350 w 1114425"/>
                <a:gd name="connsiteY44" fmla="*/ 166688 h 1014413"/>
                <a:gd name="connsiteX45" fmla="*/ 909638 w 1114425"/>
                <a:gd name="connsiteY45" fmla="*/ 157163 h 1014413"/>
                <a:gd name="connsiteX46" fmla="*/ 928688 w 1114425"/>
                <a:gd name="connsiteY46" fmla="*/ 142875 h 1014413"/>
                <a:gd name="connsiteX47" fmla="*/ 942975 w 1114425"/>
                <a:gd name="connsiteY47" fmla="*/ 138113 h 1014413"/>
                <a:gd name="connsiteX48" fmla="*/ 971550 w 1114425"/>
                <a:gd name="connsiteY48" fmla="*/ 123825 h 1014413"/>
                <a:gd name="connsiteX49" fmla="*/ 985838 w 1114425"/>
                <a:gd name="connsiteY49" fmla="*/ 114300 h 1014413"/>
                <a:gd name="connsiteX50" fmla="*/ 1023938 w 1114425"/>
                <a:gd name="connsiteY50" fmla="*/ 85725 h 1014413"/>
                <a:gd name="connsiteX51" fmla="*/ 1038225 w 1114425"/>
                <a:gd name="connsiteY51" fmla="*/ 76200 h 1014413"/>
                <a:gd name="connsiteX52" fmla="*/ 1076325 w 1114425"/>
                <a:gd name="connsiteY52" fmla="*/ 57150 h 1014413"/>
                <a:gd name="connsiteX53" fmla="*/ 1095375 w 1114425"/>
                <a:gd name="connsiteY53" fmla="*/ 28575 h 1014413"/>
                <a:gd name="connsiteX54" fmla="*/ 1100138 w 1114425"/>
                <a:gd name="connsiteY54" fmla="*/ 14288 h 1014413"/>
                <a:gd name="connsiteX55" fmla="*/ 1114425 w 1114425"/>
                <a:gd name="connsiteY55" fmla="*/ 0 h 101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4425" h="1014413">
                  <a:moveTo>
                    <a:pt x="0" y="1014413"/>
                  </a:moveTo>
                  <a:cubicBezTo>
                    <a:pt x="4763" y="1006475"/>
                    <a:pt x="9792" y="998692"/>
                    <a:pt x="14288" y="990600"/>
                  </a:cubicBezTo>
                  <a:cubicBezTo>
                    <a:pt x="17736" y="984394"/>
                    <a:pt x="20050" y="977570"/>
                    <a:pt x="23813" y="971550"/>
                  </a:cubicBezTo>
                  <a:cubicBezTo>
                    <a:pt x="28020" y="964819"/>
                    <a:pt x="33338" y="958850"/>
                    <a:pt x="38100" y="952500"/>
                  </a:cubicBezTo>
                  <a:cubicBezTo>
                    <a:pt x="42863" y="938213"/>
                    <a:pt x="49434" y="924406"/>
                    <a:pt x="52388" y="909638"/>
                  </a:cubicBezTo>
                  <a:lnTo>
                    <a:pt x="61913" y="862013"/>
                  </a:lnTo>
                  <a:cubicBezTo>
                    <a:pt x="60325" y="828675"/>
                    <a:pt x="59710" y="795277"/>
                    <a:pt x="57150" y="762000"/>
                  </a:cubicBezTo>
                  <a:cubicBezTo>
                    <a:pt x="55804" y="744496"/>
                    <a:pt x="48269" y="725830"/>
                    <a:pt x="42863" y="709613"/>
                  </a:cubicBezTo>
                  <a:lnTo>
                    <a:pt x="38100" y="695325"/>
                  </a:lnTo>
                  <a:cubicBezTo>
                    <a:pt x="42863" y="692150"/>
                    <a:pt x="46958" y="687610"/>
                    <a:pt x="52388" y="685800"/>
                  </a:cubicBezTo>
                  <a:cubicBezTo>
                    <a:pt x="61549" y="682747"/>
                    <a:pt x="75995" y="689318"/>
                    <a:pt x="80963" y="681038"/>
                  </a:cubicBezTo>
                  <a:cubicBezTo>
                    <a:pt x="92657" y="661548"/>
                    <a:pt x="85638" y="634960"/>
                    <a:pt x="95250" y="614363"/>
                  </a:cubicBezTo>
                  <a:cubicBezTo>
                    <a:pt x="98018" y="608432"/>
                    <a:pt x="108006" y="611398"/>
                    <a:pt x="114300" y="609600"/>
                  </a:cubicBezTo>
                  <a:cubicBezTo>
                    <a:pt x="119127" y="608221"/>
                    <a:pt x="124098" y="607083"/>
                    <a:pt x="128588" y="604838"/>
                  </a:cubicBezTo>
                  <a:cubicBezTo>
                    <a:pt x="136867" y="600698"/>
                    <a:pt x="144308" y="595046"/>
                    <a:pt x="152400" y="590550"/>
                  </a:cubicBezTo>
                  <a:cubicBezTo>
                    <a:pt x="158606" y="587102"/>
                    <a:pt x="165543" y="584963"/>
                    <a:pt x="171450" y="581025"/>
                  </a:cubicBezTo>
                  <a:cubicBezTo>
                    <a:pt x="210275" y="555142"/>
                    <a:pt x="180142" y="567015"/>
                    <a:pt x="209550" y="557213"/>
                  </a:cubicBezTo>
                  <a:cubicBezTo>
                    <a:pt x="217488" y="550863"/>
                    <a:pt x="224477" y="543100"/>
                    <a:pt x="233363" y="538163"/>
                  </a:cubicBezTo>
                  <a:cubicBezTo>
                    <a:pt x="239085" y="534984"/>
                    <a:pt x="246432" y="536058"/>
                    <a:pt x="252413" y="533400"/>
                  </a:cubicBezTo>
                  <a:cubicBezTo>
                    <a:pt x="260872" y="529641"/>
                    <a:pt x="267946" y="523253"/>
                    <a:pt x="276225" y="519113"/>
                  </a:cubicBezTo>
                  <a:cubicBezTo>
                    <a:pt x="280715" y="516868"/>
                    <a:pt x="285899" y="516328"/>
                    <a:pt x="290513" y="514350"/>
                  </a:cubicBezTo>
                  <a:cubicBezTo>
                    <a:pt x="307433" y="507098"/>
                    <a:pt x="309501" y="504867"/>
                    <a:pt x="323850" y="495300"/>
                  </a:cubicBezTo>
                  <a:cubicBezTo>
                    <a:pt x="327025" y="490538"/>
                    <a:pt x="329711" y="485410"/>
                    <a:pt x="333375" y="481013"/>
                  </a:cubicBezTo>
                  <a:cubicBezTo>
                    <a:pt x="340184" y="472842"/>
                    <a:pt x="357702" y="456944"/>
                    <a:pt x="366713" y="452438"/>
                  </a:cubicBezTo>
                  <a:cubicBezTo>
                    <a:pt x="372567" y="449511"/>
                    <a:pt x="379469" y="449473"/>
                    <a:pt x="385763" y="447675"/>
                  </a:cubicBezTo>
                  <a:cubicBezTo>
                    <a:pt x="390590" y="446296"/>
                    <a:pt x="395288" y="444500"/>
                    <a:pt x="400050" y="442913"/>
                  </a:cubicBezTo>
                  <a:cubicBezTo>
                    <a:pt x="404813" y="439738"/>
                    <a:pt x="413215" y="439001"/>
                    <a:pt x="414338" y="433388"/>
                  </a:cubicBezTo>
                  <a:cubicBezTo>
                    <a:pt x="423327" y="388442"/>
                    <a:pt x="390712" y="399676"/>
                    <a:pt x="414338" y="352425"/>
                  </a:cubicBezTo>
                  <a:cubicBezTo>
                    <a:pt x="417265" y="346571"/>
                    <a:pt x="427119" y="349544"/>
                    <a:pt x="433388" y="347663"/>
                  </a:cubicBezTo>
                  <a:cubicBezTo>
                    <a:pt x="443005" y="344778"/>
                    <a:pt x="451994" y="339334"/>
                    <a:pt x="461963" y="338138"/>
                  </a:cubicBezTo>
                  <a:cubicBezTo>
                    <a:pt x="491952" y="334539"/>
                    <a:pt x="522288" y="334963"/>
                    <a:pt x="552450" y="333375"/>
                  </a:cubicBezTo>
                  <a:cubicBezTo>
                    <a:pt x="565897" y="324411"/>
                    <a:pt x="579668" y="314377"/>
                    <a:pt x="595313" y="309563"/>
                  </a:cubicBezTo>
                  <a:cubicBezTo>
                    <a:pt x="606042" y="306262"/>
                    <a:pt x="617578" y="306645"/>
                    <a:pt x="628650" y="304800"/>
                  </a:cubicBezTo>
                  <a:cubicBezTo>
                    <a:pt x="647700" y="301625"/>
                    <a:pt x="673072" y="295283"/>
                    <a:pt x="690563" y="290513"/>
                  </a:cubicBezTo>
                  <a:cubicBezTo>
                    <a:pt x="727352" y="280479"/>
                    <a:pt x="681207" y="292480"/>
                    <a:pt x="719138" y="276225"/>
                  </a:cubicBezTo>
                  <a:cubicBezTo>
                    <a:pt x="725154" y="273647"/>
                    <a:pt x="731838" y="273050"/>
                    <a:pt x="738188" y="271463"/>
                  </a:cubicBezTo>
                  <a:cubicBezTo>
                    <a:pt x="744035" y="266786"/>
                    <a:pt x="766176" y="247944"/>
                    <a:pt x="776288" y="242888"/>
                  </a:cubicBezTo>
                  <a:cubicBezTo>
                    <a:pt x="780778" y="240643"/>
                    <a:pt x="785875" y="239888"/>
                    <a:pt x="790575" y="238125"/>
                  </a:cubicBezTo>
                  <a:cubicBezTo>
                    <a:pt x="798580" y="235123"/>
                    <a:pt x="806383" y="231602"/>
                    <a:pt x="814388" y="228600"/>
                  </a:cubicBezTo>
                  <a:cubicBezTo>
                    <a:pt x="819088" y="226837"/>
                    <a:pt x="824061" y="225815"/>
                    <a:pt x="828675" y="223838"/>
                  </a:cubicBezTo>
                  <a:cubicBezTo>
                    <a:pt x="835201" y="221041"/>
                    <a:pt x="841375" y="217488"/>
                    <a:pt x="847725" y="214313"/>
                  </a:cubicBezTo>
                  <a:cubicBezTo>
                    <a:pt x="850900" y="209550"/>
                    <a:pt x="852853" y="203689"/>
                    <a:pt x="857250" y="200025"/>
                  </a:cubicBezTo>
                  <a:cubicBezTo>
                    <a:pt x="862704" y="195480"/>
                    <a:pt x="870136" y="194022"/>
                    <a:pt x="876300" y="190500"/>
                  </a:cubicBezTo>
                  <a:cubicBezTo>
                    <a:pt x="881270" y="187660"/>
                    <a:pt x="885825" y="184150"/>
                    <a:pt x="890588" y="180975"/>
                  </a:cubicBezTo>
                  <a:cubicBezTo>
                    <a:pt x="892175" y="176213"/>
                    <a:pt x="892214" y="170608"/>
                    <a:pt x="895350" y="166688"/>
                  </a:cubicBezTo>
                  <a:cubicBezTo>
                    <a:pt x="898926" y="162218"/>
                    <a:pt x="904980" y="160490"/>
                    <a:pt x="909638" y="157163"/>
                  </a:cubicBezTo>
                  <a:cubicBezTo>
                    <a:pt x="916097" y="152549"/>
                    <a:pt x="921796" y="146813"/>
                    <a:pt x="928688" y="142875"/>
                  </a:cubicBezTo>
                  <a:cubicBezTo>
                    <a:pt x="933046" y="140384"/>
                    <a:pt x="938388" y="140152"/>
                    <a:pt x="942975" y="138113"/>
                  </a:cubicBezTo>
                  <a:cubicBezTo>
                    <a:pt x="952706" y="133788"/>
                    <a:pt x="962241" y="128997"/>
                    <a:pt x="971550" y="123825"/>
                  </a:cubicBezTo>
                  <a:cubicBezTo>
                    <a:pt x="976554" y="121045"/>
                    <a:pt x="981209" y="117667"/>
                    <a:pt x="985838" y="114300"/>
                  </a:cubicBezTo>
                  <a:cubicBezTo>
                    <a:pt x="998677" y="104963"/>
                    <a:pt x="1010729" y="94531"/>
                    <a:pt x="1023938" y="85725"/>
                  </a:cubicBezTo>
                  <a:cubicBezTo>
                    <a:pt x="1028700" y="82550"/>
                    <a:pt x="1033200" y="78941"/>
                    <a:pt x="1038225" y="76200"/>
                  </a:cubicBezTo>
                  <a:cubicBezTo>
                    <a:pt x="1050690" y="69401"/>
                    <a:pt x="1076325" y="57150"/>
                    <a:pt x="1076325" y="57150"/>
                  </a:cubicBezTo>
                  <a:cubicBezTo>
                    <a:pt x="1082675" y="47625"/>
                    <a:pt x="1091754" y="39435"/>
                    <a:pt x="1095375" y="28575"/>
                  </a:cubicBezTo>
                  <a:cubicBezTo>
                    <a:pt x="1096963" y="23813"/>
                    <a:pt x="1097353" y="18465"/>
                    <a:pt x="1100138" y="14288"/>
                  </a:cubicBezTo>
                  <a:cubicBezTo>
                    <a:pt x="1103874" y="8684"/>
                    <a:pt x="1114425" y="0"/>
                    <a:pt x="1114425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458E099-6E2E-4EC7-45FC-C4FBF4DFCD2D}"/>
                </a:ext>
              </a:extLst>
            </p:cNvPr>
            <p:cNvSpPr/>
            <p:nvPr/>
          </p:nvSpPr>
          <p:spPr bwMode="gray">
            <a:xfrm>
              <a:off x="10604271" y="4328991"/>
              <a:ext cx="324110" cy="518575"/>
            </a:xfrm>
            <a:custGeom>
              <a:avLst/>
              <a:gdLst>
                <a:gd name="connsiteX0" fmla="*/ 0 w 428625"/>
                <a:gd name="connsiteY0" fmla="*/ 685800 h 685800"/>
                <a:gd name="connsiteX1" fmla="*/ 4763 w 428625"/>
                <a:gd name="connsiteY1" fmla="*/ 504825 h 685800"/>
                <a:gd name="connsiteX2" fmla="*/ 14288 w 428625"/>
                <a:gd name="connsiteY2" fmla="*/ 490537 h 685800"/>
                <a:gd name="connsiteX3" fmla="*/ 23813 w 428625"/>
                <a:gd name="connsiteY3" fmla="*/ 466725 h 685800"/>
                <a:gd name="connsiteX4" fmla="*/ 42863 w 428625"/>
                <a:gd name="connsiteY4" fmla="*/ 433387 h 685800"/>
                <a:gd name="connsiteX5" fmla="*/ 57150 w 428625"/>
                <a:gd name="connsiteY5" fmla="*/ 390525 h 685800"/>
                <a:gd name="connsiteX6" fmla="*/ 71438 w 428625"/>
                <a:gd name="connsiteY6" fmla="*/ 371475 h 685800"/>
                <a:gd name="connsiteX7" fmla="*/ 80963 w 428625"/>
                <a:gd name="connsiteY7" fmla="*/ 338137 h 685800"/>
                <a:gd name="connsiteX8" fmla="*/ 90488 w 428625"/>
                <a:gd name="connsiteY8" fmla="*/ 319087 h 685800"/>
                <a:gd name="connsiteX9" fmla="*/ 104775 w 428625"/>
                <a:gd name="connsiteY9" fmla="*/ 247650 h 685800"/>
                <a:gd name="connsiteX10" fmla="*/ 109538 w 428625"/>
                <a:gd name="connsiteY10" fmla="*/ 233362 h 685800"/>
                <a:gd name="connsiteX11" fmla="*/ 123825 w 428625"/>
                <a:gd name="connsiteY11" fmla="*/ 219075 h 685800"/>
                <a:gd name="connsiteX12" fmla="*/ 142875 w 428625"/>
                <a:gd name="connsiteY12" fmla="*/ 190500 h 685800"/>
                <a:gd name="connsiteX13" fmla="*/ 204788 w 428625"/>
                <a:gd name="connsiteY13" fmla="*/ 133350 h 685800"/>
                <a:gd name="connsiteX14" fmla="*/ 219075 w 428625"/>
                <a:gd name="connsiteY14" fmla="*/ 119062 h 685800"/>
                <a:gd name="connsiteX15" fmla="*/ 242888 w 428625"/>
                <a:gd name="connsiteY15" fmla="*/ 104775 h 685800"/>
                <a:gd name="connsiteX16" fmla="*/ 323850 w 428625"/>
                <a:gd name="connsiteY16" fmla="*/ 66675 h 685800"/>
                <a:gd name="connsiteX17" fmla="*/ 338138 w 428625"/>
                <a:gd name="connsiteY17" fmla="*/ 57150 h 685800"/>
                <a:gd name="connsiteX18" fmla="*/ 357188 w 428625"/>
                <a:gd name="connsiteY18" fmla="*/ 42862 h 685800"/>
                <a:gd name="connsiteX19" fmla="*/ 371475 w 428625"/>
                <a:gd name="connsiteY19" fmla="*/ 38100 h 685800"/>
                <a:gd name="connsiteX20" fmla="*/ 414338 w 428625"/>
                <a:gd name="connsiteY20" fmla="*/ 9525 h 685800"/>
                <a:gd name="connsiteX21" fmla="*/ 428625 w 428625"/>
                <a:gd name="connsiteY21" fmla="*/ 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8625" h="685800">
                  <a:moveTo>
                    <a:pt x="0" y="685800"/>
                  </a:moveTo>
                  <a:cubicBezTo>
                    <a:pt x="1588" y="625475"/>
                    <a:pt x="359" y="565010"/>
                    <a:pt x="4763" y="504825"/>
                  </a:cubicBezTo>
                  <a:cubicBezTo>
                    <a:pt x="5181" y="499116"/>
                    <a:pt x="11728" y="495657"/>
                    <a:pt x="14288" y="490537"/>
                  </a:cubicBezTo>
                  <a:cubicBezTo>
                    <a:pt x="18111" y="482891"/>
                    <a:pt x="20341" y="474537"/>
                    <a:pt x="23813" y="466725"/>
                  </a:cubicBezTo>
                  <a:cubicBezTo>
                    <a:pt x="31870" y="448598"/>
                    <a:pt x="32648" y="448710"/>
                    <a:pt x="42863" y="433387"/>
                  </a:cubicBezTo>
                  <a:cubicBezTo>
                    <a:pt x="46786" y="417693"/>
                    <a:pt x="48997" y="405199"/>
                    <a:pt x="57150" y="390525"/>
                  </a:cubicBezTo>
                  <a:cubicBezTo>
                    <a:pt x="61005" y="383586"/>
                    <a:pt x="66675" y="377825"/>
                    <a:pt x="71438" y="371475"/>
                  </a:cubicBezTo>
                  <a:cubicBezTo>
                    <a:pt x="73856" y="361802"/>
                    <a:pt x="76862" y="347706"/>
                    <a:pt x="80963" y="338137"/>
                  </a:cubicBezTo>
                  <a:cubicBezTo>
                    <a:pt x="83760" y="331612"/>
                    <a:pt x="87313" y="325437"/>
                    <a:pt x="90488" y="319087"/>
                  </a:cubicBezTo>
                  <a:cubicBezTo>
                    <a:pt x="95740" y="287574"/>
                    <a:pt x="96060" y="282511"/>
                    <a:pt x="104775" y="247650"/>
                  </a:cubicBezTo>
                  <a:cubicBezTo>
                    <a:pt x="105993" y="242780"/>
                    <a:pt x="106753" y="237539"/>
                    <a:pt x="109538" y="233362"/>
                  </a:cubicBezTo>
                  <a:cubicBezTo>
                    <a:pt x="113274" y="227758"/>
                    <a:pt x="119690" y="224391"/>
                    <a:pt x="123825" y="219075"/>
                  </a:cubicBezTo>
                  <a:cubicBezTo>
                    <a:pt x="130853" y="210039"/>
                    <a:pt x="134780" y="198595"/>
                    <a:pt x="142875" y="190500"/>
                  </a:cubicBezTo>
                  <a:cubicBezTo>
                    <a:pt x="228296" y="105079"/>
                    <a:pt x="144236" y="186334"/>
                    <a:pt x="204788" y="133350"/>
                  </a:cubicBezTo>
                  <a:cubicBezTo>
                    <a:pt x="209857" y="128915"/>
                    <a:pt x="213687" y="123103"/>
                    <a:pt x="219075" y="119062"/>
                  </a:cubicBezTo>
                  <a:cubicBezTo>
                    <a:pt x="226480" y="113508"/>
                    <a:pt x="234697" y="109086"/>
                    <a:pt x="242888" y="104775"/>
                  </a:cubicBezTo>
                  <a:cubicBezTo>
                    <a:pt x="304353" y="72425"/>
                    <a:pt x="287949" y="78641"/>
                    <a:pt x="323850" y="66675"/>
                  </a:cubicBezTo>
                  <a:cubicBezTo>
                    <a:pt x="328613" y="63500"/>
                    <a:pt x="333480" y="60477"/>
                    <a:pt x="338138" y="57150"/>
                  </a:cubicBezTo>
                  <a:cubicBezTo>
                    <a:pt x="344597" y="52536"/>
                    <a:pt x="350296" y="46800"/>
                    <a:pt x="357188" y="42862"/>
                  </a:cubicBezTo>
                  <a:cubicBezTo>
                    <a:pt x="361546" y="40371"/>
                    <a:pt x="366713" y="39687"/>
                    <a:pt x="371475" y="38100"/>
                  </a:cubicBezTo>
                  <a:lnTo>
                    <a:pt x="414338" y="9525"/>
                  </a:lnTo>
                  <a:lnTo>
                    <a:pt x="428625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C9436C5-DCC9-36EC-5DCB-CA051FEAFEFB}"/>
                </a:ext>
              </a:extLst>
            </p:cNvPr>
            <p:cNvSpPr/>
            <p:nvPr/>
          </p:nvSpPr>
          <p:spPr bwMode="gray">
            <a:xfrm>
              <a:off x="11086834" y="4545065"/>
              <a:ext cx="86429" cy="424943"/>
            </a:xfrm>
            <a:custGeom>
              <a:avLst/>
              <a:gdLst>
                <a:gd name="connsiteX0" fmla="*/ 114300 w 114300"/>
                <a:gd name="connsiteY0" fmla="*/ 561975 h 561975"/>
                <a:gd name="connsiteX1" fmla="*/ 85725 w 114300"/>
                <a:gd name="connsiteY1" fmla="*/ 523875 h 561975"/>
                <a:gd name="connsiteX2" fmla="*/ 61913 w 114300"/>
                <a:gd name="connsiteY2" fmla="*/ 490537 h 561975"/>
                <a:gd name="connsiteX3" fmla="*/ 57150 w 114300"/>
                <a:gd name="connsiteY3" fmla="*/ 476250 h 561975"/>
                <a:gd name="connsiteX4" fmla="*/ 42863 w 114300"/>
                <a:gd name="connsiteY4" fmla="*/ 447675 h 561975"/>
                <a:gd name="connsiteX5" fmla="*/ 33338 w 114300"/>
                <a:gd name="connsiteY5" fmla="*/ 433387 h 561975"/>
                <a:gd name="connsiteX6" fmla="*/ 28575 w 114300"/>
                <a:gd name="connsiteY6" fmla="*/ 419100 h 561975"/>
                <a:gd name="connsiteX7" fmla="*/ 9525 w 114300"/>
                <a:gd name="connsiteY7" fmla="*/ 381000 h 561975"/>
                <a:gd name="connsiteX8" fmla="*/ 0 w 114300"/>
                <a:gd name="connsiteY8" fmla="*/ 352425 h 561975"/>
                <a:gd name="connsiteX9" fmla="*/ 9525 w 114300"/>
                <a:gd name="connsiteY9" fmla="*/ 276225 h 561975"/>
                <a:gd name="connsiteX10" fmla="*/ 23813 w 114300"/>
                <a:gd name="connsiteY10" fmla="*/ 257175 h 561975"/>
                <a:gd name="connsiteX11" fmla="*/ 28575 w 114300"/>
                <a:gd name="connsiteY11" fmla="*/ 238125 h 561975"/>
                <a:gd name="connsiteX12" fmla="*/ 42863 w 114300"/>
                <a:gd name="connsiteY12" fmla="*/ 185737 h 561975"/>
                <a:gd name="connsiteX13" fmla="*/ 52388 w 114300"/>
                <a:gd name="connsiteY13" fmla="*/ 85725 h 561975"/>
                <a:gd name="connsiteX14" fmla="*/ 61913 w 114300"/>
                <a:gd name="connsiteY14" fmla="*/ 57150 h 561975"/>
                <a:gd name="connsiteX15" fmla="*/ 85725 w 114300"/>
                <a:gd name="connsiteY15" fmla="*/ 19050 h 561975"/>
                <a:gd name="connsiteX16" fmla="*/ 85725 w 114300"/>
                <a:gd name="connsiteY16" fmla="*/ 0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4300" h="561975">
                  <a:moveTo>
                    <a:pt x="114300" y="561975"/>
                  </a:moveTo>
                  <a:cubicBezTo>
                    <a:pt x="73730" y="511261"/>
                    <a:pt x="110993" y="559250"/>
                    <a:pt x="85725" y="523875"/>
                  </a:cubicBezTo>
                  <a:cubicBezTo>
                    <a:pt x="82128" y="518840"/>
                    <a:pt x="65655" y="498021"/>
                    <a:pt x="61913" y="490537"/>
                  </a:cubicBezTo>
                  <a:cubicBezTo>
                    <a:pt x="59668" y="486047"/>
                    <a:pt x="59189" y="480837"/>
                    <a:pt x="57150" y="476250"/>
                  </a:cubicBezTo>
                  <a:cubicBezTo>
                    <a:pt x="52825" y="466519"/>
                    <a:pt x="48035" y="456984"/>
                    <a:pt x="42863" y="447675"/>
                  </a:cubicBezTo>
                  <a:cubicBezTo>
                    <a:pt x="40083" y="442671"/>
                    <a:pt x="35898" y="438507"/>
                    <a:pt x="33338" y="433387"/>
                  </a:cubicBezTo>
                  <a:cubicBezTo>
                    <a:pt x="31093" y="428897"/>
                    <a:pt x="30652" y="423670"/>
                    <a:pt x="28575" y="419100"/>
                  </a:cubicBezTo>
                  <a:cubicBezTo>
                    <a:pt x="22699" y="406174"/>
                    <a:pt x="14015" y="394470"/>
                    <a:pt x="9525" y="381000"/>
                  </a:cubicBezTo>
                  <a:lnTo>
                    <a:pt x="0" y="352425"/>
                  </a:lnTo>
                  <a:cubicBezTo>
                    <a:pt x="3175" y="327025"/>
                    <a:pt x="3317" y="301058"/>
                    <a:pt x="9525" y="276225"/>
                  </a:cubicBezTo>
                  <a:cubicBezTo>
                    <a:pt x="11450" y="268524"/>
                    <a:pt x="20263" y="264275"/>
                    <a:pt x="23813" y="257175"/>
                  </a:cubicBezTo>
                  <a:cubicBezTo>
                    <a:pt x="26740" y="251321"/>
                    <a:pt x="26694" y="244394"/>
                    <a:pt x="28575" y="238125"/>
                  </a:cubicBezTo>
                  <a:cubicBezTo>
                    <a:pt x="43078" y="189779"/>
                    <a:pt x="34181" y="229144"/>
                    <a:pt x="42863" y="185737"/>
                  </a:cubicBezTo>
                  <a:cubicBezTo>
                    <a:pt x="46038" y="152400"/>
                    <a:pt x="47480" y="118852"/>
                    <a:pt x="52388" y="85725"/>
                  </a:cubicBezTo>
                  <a:cubicBezTo>
                    <a:pt x="53859" y="75793"/>
                    <a:pt x="55889" y="65182"/>
                    <a:pt x="61913" y="57150"/>
                  </a:cubicBezTo>
                  <a:cubicBezTo>
                    <a:pt x="69496" y="47039"/>
                    <a:pt x="82456" y="32124"/>
                    <a:pt x="85725" y="19050"/>
                  </a:cubicBezTo>
                  <a:cubicBezTo>
                    <a:pt x="87265" y="12890"/>
                    <a:pt x="85725" y="6350"/>
                    <a:pt x="85725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7E9CA0F0-2192-8674-875E-7CA113855E75}"/>
                </a:ext>
              </a:extLst>
            </p:cNvPr>
            <p:cNvSpPr/>
            <p:nvPr/>
          </p:nvSpPr>
          <p:spPr bwMode="gray">
            <a:xfrm>
              <a:off x="10233346" y="4469440"/>
              <a:ext cx="911107" cy="108038"/>
            </a:xfrm>
            <a:custGeom>
              <a:avLst/>
              <a:gdLst>
                <a:gd name="connsiteX0" fmla="*/ 0 w 1204912"/>
                <a:gd name="connsiteY0" fmla="*/ 33338 h 142877"/>
                <a:gd name="connsiteX1" fmla="*/ 42862 w 1204912"/>
                <a:gd name="connsiteY1" fmla="*/ 19050 h 142877"/>
                <a:gd name="connsiteX2" fmla="*/ 57150 w 1204912"/>
                <a:gd name="connsiteY2" fmla="*/ 4763 h 142877"/>
                <a:gd name="connsiteX3" fmla="*/ 76200 w 1204912"/>
                <a:gd name="connsiteY3" fmla="*/ 23813 h 142877"/>
                <a:gd name="connsiteX4" fmla="*/ 109537 w 1204912"/>
                <a:gd name="connsiteY4" fmla="*/ 42863 h 142877"/>
                <a:gd name="connsiteX5" fmla="*/ 138112 w 1204912"/>
                <a:gd name="connsiteY5" fmla="*/ 28575 h 142877"/>
                <a:gd name="connsiteX6" fmla="*/ 147637 w 1204912"/>
                <a:gd name="connsiteY6" fmla="*/ 4763 h 142877"/>
                <a:gd name="connsiteX7" fmla="*/ 171450 w 1204912"/>
                <a:gd name="connsiteY7" fmla="*/ 0 h 142877"/>
                <a:gd name="connsiteX8" fmla="*/ 185737 w 1204912"/>
                <a:gd name="connsiteY8" fmla="*/ 19050 h 142877"/>
                <a:gd name="connsiteX9" fmla="*/ 190500 w 1204912"/>
                <a:gd name="connsiteY9" fmla="*/ 76200 h 142877"/>
                <a:gd name="connsiteX10" fmla="*/ 219075 w 1204912"/>
                <a:gd name="connsiteY10" fmla="*/ 90488 h 142877"/>
                <a:gd name="connsiteX11" fmla="*/ 233362 w 1204912"/>
                <a:gd name="connsiteY11" fmla="*/ 95250 h 142877"/>
                <a:gd name="connsiteX12" fmla="*/ 261937 w 1204912"/>
                <a:gd name="connsiteY12" fmla="*/ 109538 h 142877"/>
                <a:gd name="connsiteX13" fmla="*/ 290512 w 1204912"/>
                <a:gd name="connsiteY13" fmla="*/ 119063 h 142877"/>
                <a:gd name="connsiteX14" fmla="*/ 300037 w 1204912"/>
                <a:gd name="connsiteY14" fmla="*/ 133350 h 142877"/>
                <a:gd name="connsiteX15" fmla="*/ 371475 w 1204912"/>
                <a:gd name="connsiteY15" fmla="*/ 138113 h 142877"/>
                <a:gd name="connsiteX16" fmla="*/ 400050 w 1204912"/>
                <a:gd name="connsiteY16" fmla="*/ 133350 h 142877"/>
                <a:gd name="connsiteX17" fmla="*/ 404812 w 1204912"/>
                <a:gd name="connsiteY17" fmla="*/ 119063 h 142877"/>
                <a:gd name="connsiteX18" fmla="*/ 442912 w 1204912"/>
                <a:gd name="connsiteY18" fmla="*/ 85725 h 142877"/>
                <a:gd name="connsiteX19" fmla="*/ 466725 w 1204912"/>
                <a:gd name="connsiteY19" fmla="*/ 71438 h 142877"/>
                <a:gd name="connsiteX20" fmla="*/ 485775 w 1204912"/>
                <a:gd name="connsiteY20" fmla="*/ 66675 h 142877"/>
                <a:gd name="connsiteX21" fmla="*/ 504825 w 1204912"/>
                <a:gd name="connsiteY21" fmla="*/ 57150 h 142877"/>
                <a:gd name="connsiteX22" fmla="*/ 542925 w 1204912"/>
                <a:gd name="connsiteY22" fmla="*/ 47625 h 142877"/>
                <a:gd name="connsiteX23" fmla="*/ 638175 w 1204912"/>
                <a:gd name="connsiteY23" fmla="*/ 52388 h 142877"/>
                <a:gd name="connsiteX24" fmla="*/ 642937 w 1204912"/>
                <a:gd name="connsiteY24" fmla="*/ 66675 h 142877"/>
                <a:gd name="connsiteX25" fmla="*/ 657225 w 1204912"/>
                <a:gd name="connsiteY25" fmla="*/ 76200 h 142877"/>
                <a:gd name="connsiteX26" fmla="*/ 719137 w 1204912"/>
                <a:gd name="connsiteY26" fmla="*/ 85725 h 142877"/>
                <a:gd name="connsiteX27" fmla="*/ 781050 w 1204912"/>
                <a:gd name="connsiteY27" fmla="*/ 80963 h 142877"/>
                <a:gd name="connsiteX28" fmla="*/ 814387 w 1204912"/>
                <a:gd name="connsiteY28" fmla="*/ 76200 h 142877"/>
                <a:gd name="connsiteX29" fmla="*/ 828675 w 1204912"/>
                <a:gd name="connsiteY29" fmla="*/ 71438 h 142877"/>
                <a:gd name="connsiteX30" fmla="*/ 881062 w 1204912"/>
                <a:gd name="connsiteY30" fmla="*/ 66675 h 142877"/>
                <a:gd name="connsiteX31" fmla="*/ 1047750 w 1204912"/>
                <a:gd name="connsiteY31" fmla="*/ 76200 h 142877"/>
                <a:gd name="connsiteX32" fmla="*/ 1085850 w 1204912"/>
                <a:gd name="connsiteY32" fmla="*/ 85725 h 142877"/>
                <a:gd name="connsiteX33" fmla="*/ 1147762 w 1204912"/>
                <a:gd name="connsiteY33" fmla="*/ 109538 h 142877"/>
                <a:gd name="connsiteX34" fmla="*/ 1166812 w 1204912"/>
                <a:gd name="connsiteY34" fmla="*/ 119063 h 142877"/>
                <a:gd name="connsiteX35" fmla="*/ 1204912 w 1204912"/>
                <a:gd name="connsiteY35" fmla="*/ 119063 h 142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04912" h="142877">
                  <a:moveTo>
                    <a:pt x="0" y="33338"/>
                  </a:moveTo>
                  <a:cubicBezTo>
                    <a:pt x="14287" y="28575"/>
                    <a:pt x="29392" y="25785"/>
                    <a:pt x="42862" y="19050"/>
                  </a:cubicBezTo>
                  <a:cubicBezTo>
                    <a:pt x="48886" y="16038"/>
                    <a:pt x="50483" y="3810"/>
                    <a:pt x="57150" y="4763"/>
                  </a:cubicBezTo>
                  <a:cubicBezTo>
                    <a:pt x="66040" y="6033"/>
                    <a:pt x="69382" y="17969"/>
                    <a:pt x="76200" y="23813"/>
                  </a:cubicBezTo>
                  <a:cubicBezTo>
                    <a:pt x="85625" y="31892"/>
                    <a:pt x="98725" y="37457"/>
                    <a:pt x="109537" y="42863"/>
                  </a:cubicBezTo>
                  <a:cubicBezTo>
                    <a:pt x="118121" y="40002"/>
                    <a:pt x="132342" y="36653"/>
                    <a:pt x="138112" y="28575"/>
                  </a:cubicBezTo>
                  <a:cubicBezTo>
                    <a:pt x="143081" y="21619"/>
                    <a:pt x="141146" y="10326"/>
                    <a:pt x="147637" y="4763"/>
                  </a:cubicBezTo>
                  <a:cubicBezTo>
                    <a:pt x="153783" y="-505"/>
                    <a:pt x="163512" y="1588"/>
                    <a:pt x="171450" y="0"/>
                  </a:cubicBezTo>
                  <a:cubicBezTo>
                    <a:pt x="176212" y="6350"/>
                    <a:pt x="183812" y="11350"/>
                    <a:pt x="185737" y="19050"/>
                  </a:cubicBezTo>
                  <a:cubicBezTo>
                    <a:pt x="190373" y="37595"/>
                    <a:pt x="182416" y="58877"/>
                    <a:pt x="190500" y="76200"/>
                  </a:cubicBezTo>
                  <a:cubicBezTo>
                    <a:pt x="195003" y="85850"/>
                    <a:pt x="209344" y="86163"/>
                    <a:pt x="219075" y="90488"/>
                  </a:cubicBezTo>
                  <a:cubicBezTo>
                    <a:pt x="223662" y="92527"/>
                    <a:pt x="228775" y="93211"/>
                    <a:pt x="233362" y="95250"/>
                  </a:cubicBezTo>
                  <a:cubicBezTo>
                    <a:pt x="243093" y="99575"/>
                    <a:pt x="252107" y="105442"/>
                    <a:pt x="261937" y="109538"/>
                  </a:cubicBezTo>
                  <a:cubicBezTo>
                    <a:pt x="271205" y="113400"/>
                    <a:pt x="290512" y="119063"/>
                    <a:pt x="290512" y="119063"/>
                  </a:cubicBezTo>
                  <a:cubicBezTo>
                    <a:pt x="293687" y="123825"/>
                    <a:pt x="295034" y="130570"/>
                    <a:pt x="300037" y="133350"/>
                  </a:cubicBezTo>
                  <a:cubicBezTo>
                    <a:pt x="326901" y="148274"/>
                    <a:pt x="342704" y="142223"/>
                    <a:pt x="371475" y="138113"/>
                  </a:cubicBezTo>
                  <a:cubicBezTo>
                    <a:pt x="381034" y="136747"/>
                    <a:pt x="390525" y="134938"/>
                    <a:pt x="400050" y="133350"/>
                  </a:cubicBezTo>
                  <a:cubicBezTo>
                    <a:pt x="401637" y="128588"/>
                    <a:pt x="401894" y="123148"/>
                    <a:pt x="404812" y="119063"/>
                  </a:cubicBezTo>
                  <a:cubicBezTo>
                    <a:pt x="412648" y="108092"/>
                    <a:pt x="431551" y="93299"/>
                    <a:pt x="442912" y="85725"/>
                  </a:cubicBezTo>
                  <a:cubicBezTo>
                    <a:pt x="450614" y="80590"/>
                    <a:pt x="458266" y="75197"/>
                    <a:pt x="466725" y="71438"/>
                  </a:cubicBezTo>
                  <a:cubicBezTo>
                    <a:pt x="472706" y="68780"/>
                    <a:pt x="479646" y="68973"/>
                    <a:pt x="485775" y="66675"/>
                  </a:cubicBezTo>
                  <a:cubicBezTo>
                    <a:pt x="492422" y="64182"/>
                    <a:pt x="498299" y="59947"/>
                    <a:pt x="504825" y="57150"/>
                  </a:cubicBezTo>
                  <a:cubicBezTo>
                    <a:pt x="517636" y="51660"/>
                    <a:pt x="528953" y="50420"/>
                    <a:pt x="542925" y="47625"/>
                  </a:cubicBezTo>
                  <a:cubicBezTo>
                    <a:pt x="574675" y="49213"/>
                    <a:pt x="606947" y="46440"/>
                    <a:pt x="638175" y="52388"/>
                  </a:cubicBezTo>
                  <a:cubicBezTo>
                    <a:pt x="643106" y="53327"/>
                    <a:pt x="639801" y="62755"/>
                    <a:pt x="642937" y="66675"/>
                  </a:cubicBezTo>
                  <a:cubicBezTo>
                    <a:pt x="646513" y="71145"/>
                    <a:pt x="651795" y="74390"/>
                    <a:pt x="657225" y="76200"/>
                  </a:cubicBezTo>
                  <a:cubicBezTo>
                    <a:pt x="662187" y="77854"/>
                    <a:pt x="716561" y="85357"/>
                    <a:pt x="719137" y="85725"/>
                  </a:cubicBezTo>
                  <a:cubicBezTo>
                    <a:pt x="739775" y="84138"/>
                    <a:pt x="760454" y="83023"/>
                    <a:pt x="781050" y="80963"/>
                  </a:cubicBezTo>
                  <a:cubicBezTo>
                    <a:pt x="792219" y="79846"/>
                    <a:pt x="803380" y="78401"/>
                    <a:pt x="814387" y="76200"/>
                  </a:cubicBezTo>
                  <a:cubicBezTo>
                    <a:pt x="819310" y="75215"/>
                    <a:pt x="823705" y="72148"/>
                    <a:pt x="828675" y="71438"/>
                  </a:cubicBezTo>
                  <a:cubicBezTo>
                    <a:pt x="846033" y="68958"/>
                    <a:pt x="863600" y="68263"/>
                    <a:pt x="881062" y="66675"/>
                  </a:cubicBezTo>
                  <a:cubicBezTo>
                    <a:pt x="936625" y="69850"/>
                    <a:pt x="992336" y="71045"/>
                    <a:pt x="1047750" y="76200"/>
                  </a:cubicBezTo>
                  <a:cubicBezTo>
                    <a:pt x="1060785" y="77413"/>
                    <a:pt x="1073220" y="82280"/>
                    <a:pt x="1085850" y="85725"/>
                  </a:cubicBezTo>
                  <a:cubicBezTo>
                    <a:pt x="1101462" y="89983"/>
                    <a:pt x="1146209" y="108761"/>
                    <a:pt x="1147762" y="109538"/>
                  </a:cubicBezTo>
                  <a:cubicBezTo>
                    <a:pt x="1154112" y="112713"/>
                    <a:pt x="1159809" y="117896"/>
                    <a:pt x="1166812" y="119063"/>
                  </a:cubicBezTo>
                  <a:cubicBezTo>
                    <a:pt x="1179339" y="121151"/>
                    <a:pt x="1192212" y="119063"/>
                    <a:pt x="1204912" y="11906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B5AE030-7807-3ACD-3093-93CBAB4DF593}"/>
                </a:ext>
              </a:extLst>
            </p:cNvPr>
            <p:cNvSpPr/>
            <p:nvPr/>
          </p:nvSpPr>
          <p:spPr bwMode="gray">
            <a:xfrm>
              <a:off x="10780731" y="4062502"/>
              <a:ext cx="298900" cy="478961"/>
            </a:xfrm>
            <a:custGeom>
              <a:avLst/>
              <a:gdLst>
                <a:gd name="connsiteX0" fmla="*/ 9525 w 395287"/>
                <a:gd name="connsiteY0" fmla="*/ 0 h 633412"/>
                <a:gd name="connsiteX1" fmla="*/ 9525 w 395287"/>
                <a:gd name="connsiteY1" fmla="*/ 71437 h 633412"/>
                <a:gd name="connsiteX2" fmla="*/ 0 w 395287"/>
                <a:gd name="connsiteY2" fmla="*/ 109537 h 633412"/>
                <a:gd name="connsiteX3" fmla="*/ 4762 w 395287"/>
                <a:gd name="connsiteY3" fmla="*/ 157162 h 633412"/>
                <a:gd name="connsiteX4" fmla="*/ 9525 w 395287"/>
                <a:gd name="connsiteY4" fmla="*/ 176212 h 633412"/>
                <a:gd name="connsiteX5" fmla="*/ 14287 w 395287"/>
                <a:gd name="connsiteY5" fmla="*/ 247650 h 633412"/>
                <a:gd name="connsiteX6" fmla="*/ 23812 w 395287"/>
                <a:gd name="connsiteY6" fmla="*/ 261937 h 633412"/>
                <a:gd name="connsiteX7" fmla="*/ 52387 w 395287"/>
                <a:gd name="connsiteY7" fmla="*/ 290512 h 633412"/>
                <a:gd name="connsiteX8" fmla="*/ 95250 w 395287"/>
                <a:gd name="connsiteY8" fmla="*/ 323850 h 633412"/>
                <a:gd name="connsiteX9" fmla="*/ 109537 w 395287"/>
                <a:gd name="connsiteY9" fmla="*/ 333375 h 633412"/>
                <a:gd name="connsiteX10" fmla="*/ 128587 w 395287"/>
                <a:gd name="connsiteY10" fmla="*/ 338137 h 633412"/>
                <a:gd name="connsiteX11" fmla="*/ 176212 w 395287"/>
                <a:gd name="connsiteY11" fmla="*/ 361950 h 633412"/>
                <a:gd name="connsiteX12" fmla="*/ 200025 w 395287"/>
                <a:gd name="connsiteY12" fmla="*/ 404812 h 633412"/>
                <a:gd name="connsiteX13" fmla="*/ 219075 w 395287"/>
                <a:gd name="connsiteY13" fmla="*/ 428625 h 633412"/>
                <a:gd name="connsiteX14" fmla="*/ 242887 w 395287"/>
                <a:gd name="connsiteY14" fmla="*/ 461962 h 633412"/>
                <a:gd name="connsiteX15" fmla="*/ 257175 w 395287"/>
                <a:gd name="connsiteY15" fmla="*/ 485775 h 633412"/>
                <a:gd name="connsiteX16" fmla="*/ 271462 w 395287"/>
                <a:gd name="connsiteY16" fmla="*/ 500062 h 633412"/>
                <a:gd name="connsiteX17" fmla="*/ 319087 w 395287"/>
                <a:gd name="connsiteY17" fmla="*/ 552450 h 633412"/>
                <a:gd name="connsiteX18" fmla="*/ 352425 w 395287"/>
                <a:gd name="connsiteY18" fmla="*/ 576262 h 633412"/>
                <a:gd name="connsiteX19" fmla="*/ 395287 w 395287"/>
                <a:gd name="connsiteY19" fmla="*/ 633412 h 63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5287" h="633412">
                  <a:moveTo>
                    <a:pt x="9525" y="0"/>
                  </a:moveTo>
                  <a:cubicBezTo>
                    <a:pt x="16388" y="34319"/>
                    <a:pt x="17117" y="25883"/>
                    <a:pt x="9525" y="71437"/>
                  </a:cubicBezTo>
                  <a:cubicBezTo>
                    <a:pt x="7373" y="84350"/>
                    <a:pt x="0" y="109537"/>
                    <a:pt x="0" y="109537"/>
                  </a:cubicBezTo>
                  <a:cubicBezTo>
                    <a:pt x="1587" y="125412"/>
                    <a:pt x="2506" y="141368"/>
                    <a:pt x="4762" y="157162"/>
                  </a:cubicBezTo>
                  <a:cubicBezTo>
                    <a:pt x="5688" y="163642"/>
                    <a:pt x="8840" y="169702"/>
                    <a:pt x="9525" y="176212"/>
                  </a:cubicBezTo>
                  <a:cubicBezTo>
                    <a:pt x="12023" y="199946"/>
                    <a:pt x="10364" y="224109"/>
                    <a:pt x="14287" y="247650"/>
                  </a:cubicBezTo>
                  <a:cubicBezTo>
                    <a:pt x="15228" y="253296"/>
                    <a:pt x="20485" y="257280"/>
                    <a:pt x="23812" y="261937"/>
                  </a:cubicBezTo>
                  <a:cubicBezTo>
                    <a:pt x="43431" y="289402"/>
                    <a:pt x="30128" y="273818"/>
                    <a:pt x="52387" y="290512"/>
                  </a:cubicBezTo>
                  <a:cubicBezTo>
                    <a:pt x="66867" y="301372"/>
                    <a:pt x="80190" y="313809"/>
                    <a:pt x="95250" y="323850"/>
                  </a:cubicBezTo>
                  <a:cubicBezTo>
                    <a:pt x="100012" y="327025"/>
                    <a:pt x="104276" y="331120"/>
                    <a:pt x="109537" y="333375"/>
                  </a:cubicBezTo>
                  <a:cubicBezTo>
                    <a:pt x="115553" y="335953"/>
                    <a:pt x="122436" y="335900"/>
                    <a:pt x="128587" y="338137"/>
                  </a:cubicBezTo>
                  <a:cubicBezTo>
                    <a:pt x="136310" y="340945"/>
                    <a:pt x="166482" y="352220"/>
                    <a:pt x="176212" y="361950"/>
                  </a:cubicBezTo>
                  <a:cubicBezTo>
                    <a:pt x="200398" y="386136"/>
                    <a:pt x="182417" y="375465"/>
                    <a:pt x="200025" y="404812"/>
                  </a:cubicBezTo>
                  <a:cubicBezTo>
                    <a:pt x="205255" y="413528"/>
                    <a:pt x="212725" y="420687"/>
                    <a:pt x="219075" y="428625"/>
                  </a:cubicBezTo>
                  <a:cubicBezTo>
                    <a:pt x="228782" y="457748"/>
                    <a:pt x="216521" y="428063"/>
                    <a:pt x="242887" y="461962"/>
                  </a:cubicBezTo>
                  <a:cubicBezTo>
                    <a:pt x="248570" y="469269"/>
                    <a:pt x="251621" y="478370"/>
                    <a:pt x="257175" y="485775"/>
                  </a:cubicBezTo>
                  <a:cubicBezTo>
                    <a:pt x="261216" y="491163"/>
                    <a:pt x="267150" y="494888"/>
                    <a:pt x="271462" y="500062"/>
                  </a:cubicBezTo>
                  <a:cubicBezTo>
                    <a:pt x="293516" y="526528"/>
                    <a:pt x="268886" y="518984"/>
                    <a:pt x="319087" y="552450"/>
                  </a:cubicBezTo>
                  <a:cubicBezTo>
                    <a:pt x="326347" y="557290"/>
                    <a:pt x="347699" y="571143"/>
                    <a:pt x="352425" y="576262"/>
                  </a:cubicBezTo>
                  <a:cubicBezTo>
                    <a:pt x="385413" y="611999"/>
                    <a:pt x="382714" y="608263"/>
                    <a:pt x="395287" y="633412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5C01925A-381B-7E57-9146-CC2948CC8BAB}"/>
                </a:ext>
              </a:extLst>
            </p:cNvPr>
            <p:cNvSpPr/>
            <p:nvPr/>
          </p:nvSpPr>
          <p:spPr bwMode="gray">
            <a:xfrm>
              <a:off x="9120570" y="4285778"/>
              <a:ext cx="1116377" cy="302502"/>
            </a:xfrm>
            <a:custGeom>
              <a:avLst/>
              <a:gdLst>
                <a:gd name="connsiteX0" fmla="*/ 0 w 1476375"/>
                <a:gd name="connsiteY0" fmla="*/ 123825 h 400050"/>
                <a:gd name="connsiteX1" fmla="*/ 128588 w 1476375"/>
                <a:gd name="connsiteY1" fmla="*/ 119062 h 400050"/>
                <a:gd name="connsiteX2" fmla="*/ 147638 w 1476375"/>
                <a:gd name="connsiteY2" fmla="*/ 100012 h 400050"/>
                <a:gd name="connsiteX3" fmla="*/ 171450 w 1476375"/>
                <a:gd name="connsiteY3" fmla="*/ 80962 h 400050"/>
                <a:gd name="connsiteX4" fmla="*/ 204788 w 1476375"/>
                <a:gd name="connsiteY4" fmla="*/ 47625 h 400050"/>
                <a:gd name="connsiteX5" fmla="*/ 219075 w 1476375"/>
                <a:gd name="connsiteY5" fmla="*/ 38100 h 400050"/>
                <a:gd name="connsiteX6" fmla="*/ 238125 w 1476375"/>
                <a:gd name="connsiteY6" fmla="*/ 14287 h 400050"/>
                <a:gd name="connsiteX7" fmla="*/ 266700 w 1476375"/>
                <a:gd name="connsiteY7" fmla="*/ 0 h 400050"/>
                <a:gd name="connsiteX8" fmla="*/ 333375 w 1476375"/>
                <a:gd name="connsiteY8" fmla="*/ 14287 h 400050"/>
                <a:gd name="connsiteX9" fmla="*/ 409575 w 1476375"/>
                <a:gd name="connsiteY9" fmla="*/ 33337 h 400050"/>
                <a:gd name="connsiteX10" fmla="*/ 423863 w 1476375"/>
                <a:gd name="connsiteY10" fmla="*/ 42862 h 400050"/>
                <a:gd name="connsiteX11" fmla="*/ 438150 w 1476375"/>
                <a:gd name="connsiteY11" fmla="*/ 33337 h 400050"/>
                <a:gd name="connsiteX12" fmla="*/ 476250 w 1476375"/>
                <a:gd name="connsiteY12" fmla="*/ 19050 h 400050"/>
                <a:gd name="connsiteX13" fmla="*/ 538163 w 1476375"/>
                <a:gd name="connsiteY13" fmla="*/ 28575 h 400050"/>
                <a:gd name="connsiteX14" fmla="*/ 552450 w 1476375"/>
                <a:gd name="connsiteY14" fmla="*/ 47625 h 400050"/>
                <a:gd name="connsiteX15" fmla="*/ 566738 w 1476375"/>
                <a:gd name="connsiteY15" fmla="*/ 52387 h 400050"/>
                <a:gd name="connsiteX16" fmla="*/ 585788 w 1476375"/>
                <a:gd name="connsiteY16" fmla="*/ 61912 h 400050"/>
                <a:gd name="connsiteX17" fmla="*/ 604838 w 1476375"/>
                <a:gd name="connsiteY17" fmla="*/ 66675 h 400050"/>
                <a:gd name="connsiteX18" fmla="*/ 666750 w 1476375"/>
                <a:gd name="connsiteY18" fmla="*/ 76200 h 400050"/>
                <a:gd name="connsiteX19" fmla="*/ 681038 w 1476375"/>
                <a:gd name="connsiteY19" fmla="*/ 95250 h 400050"/>
                <a:gd name="connsiteX20" fmla="*/ 700088 w 1476375"/>
                <a:gd name="connsiteY20" fmla="*/ 114300 h 400050"/>
                <a:gd name="connsiteX21" fmla="*/ 752475 w 1476375"/>
                <a:gd name="connsiteY21" fmla="*/ 142875 h 400050"/>
                <a:gd name="connsiteX22" fmla="*/ 776288 w 1476375"/>
                <a:gd name="connsiteY22" fmla="*/ 147637 h 400050"/>
                <a:gd name="connsiteX23" fmla="*/ 804863 w 1476375"/>
                <a:gd name="connsiteY23" fmla="*/ 161925 h 400050"/>
                <a:gd name="connsiteX24" fmla="*/ 842963 w 1476375"/>
                <a:gd name="connsiteY24" fmla="*/ 185737 h 400050"/>
                <a:gd name="connsiteX25" fmla="*/ 876300 w 1476375"/>
                <a:gd name="connsiteY25" fmla="*/ 204787 h 400050"/>
                <a:gd name="connsiteX26" fmla="*/ 900113 w 1476375"/>
                <a:gd name="connsiteY26" fmla="*/ 209550 h 400050"/>
                <a:gd name="connsiteX27" fmla="*/ 947738 w 1476375"/>
                <a:gd name="connsiteY27" fmla="*/ 228600 h 400050"/>
                <a:gd name="connsiteX28" fmla="*/ 995363 w 1476375"/>
                <a:gd name="connsiteY28" fmla="*/ 219075 h 400050"/>
                <a:gd name="connsiteX29" fmla="*/ 1019175 w 1476375"/>
                <a:gd name="connsiteY29" fmla="*/ 204787 h 400050"/>
                <a:gd name="connsiteX30" fmla="*/ 1038225 w 1476375"/>
                <a:gd name="connsiteY30" fmla="*/ 200025 h 400050"/>
                <a:gd name="connsiteX31" fmla="*/ 1052513 w 1476375"/>
                <a:gd name="connsiteY31" fmla="*/ 195262 h 400050"/>
                <a:gd name="connsiteX32" fmla="*/ 1100138 w 1476375"/>
                <a:gd name="connsiteY32" fmla="*/ 200025 h 400050"/>
                <a:gd name="connsiteX33" fmla="*/ 1095375 w 1476375"/>
                <a:gd name="connsiteY33" fmla="*/ 228600 h 400050"/>
                <a:gd name="connsiteX34" fmla="*/ 1104900 w 1476375"/>
                <a:gd name="connsiteY34" fmla="*/ 261937 h 400050"/>
                <a:gd name="connsiteX35" fmla="*/ 1133475 w 1476375"/>
                <a:gd name="connsiteY35" fmla="*/ 280987 h 400050"/>
                <a:gd name="connsiteX36" fmla="*/ 1166813 w 1476375"/>
                <a:gd name="connsiteY36" fmla="*/ 319087 h 400050"/>
                <a:gd name="connsiteX37" fmla="*/ 1204913 w 1476375"/>
                <a:gd name="connsiteY37" fmla="*/ 333375 h 400050"/>
                <a:gd name="connsiteX38" fmla="*/ 1238250 w 1476375"/>
                <a:gd name="connsiteY38" fmla="*/ 352425 h 400050"/>
                <a:gd name="connsiteX39" fmla="*/ 1262063 w 1476375"/>
                <a:gd name="connsiteY39" fmla="*/ 376237 h 400050"/>
                <a:gd name="connsiteX40" fmla="*/ 1276350 w 1476375"/>
                <a:gd name="connsiteY40" fmla="*/ 390525 h 400050"/>
                <a:gd name="connsiteX41" fmla="*/ 1300163 w 1476375"/>
                <a:gd name="connsiteY41" fmla="*/ 400050 h 400050"/>
                <a:gd name="connsiteX42" fmla="*/ 1385888 w 1476375"/>
                <a:gd name="connsiteY42" fmla="*/ 390525 h 400050"/>
                <a:gd name="connsiteX43" fmla="*/ 1390650 w 1476375"/>
                <a:gd name="connsiteY43" fmla="*/ 376237 h 400050"/>
                <a:gd name="connsiteX44" fmla="*/ 1400175 w 1476375"/>
                <a:gd name="connsiteY44" fmla="*/ 361950 h 400050"/>
                <a:gd name="connsiteX45" fmla="*/ 1404938 w 1476375"/>
                <a:gd name="connsiteY45" fmla="*/ 347662 h 400050"/>
                <a:gd name="connsiteX46" fmla="*/ 1419225 w 1476375"/>
                <a:gd name="connsiteY46" fmla="*/ 333375 h 400050"/>
                <a:gd name="connsiteX47" fmla="*/ 1428750 w 1476375"/>
                <a:gd name="connsiteY47" fmla="*/ 319087 h 400050"/>
                <a:gd name="connsiteX48" fmla="*/ 1471613 w 1476375"/>
                <a:gd name="connsiteY48" fmla="*/ 276225 h 400050"/>
                <a:gd name="connsiteX49" fmla="*/ 1476375 w 1476375"/>
                <a:gd name="connsiteY49" fmla="*/ 2762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476375" h="400050">
                  <a:moveTo>
                    <a:pt x="0" y="123825"/>
                  </a:moveTo>
                  <a:cubicBezTo>
                    <a:pt x="49744" y="133773"/>
                    <a:pt x="52389" y="136646"/>
                    <a:pt x="128588" y="119062"/>
                  </a:cubicBezTo>
                  <a:cubicBezTo>
                    <a:pt x="137338" y="117043"/>
                    <a:pt x="140926" y="105978"/>
                    <a:pt x="147638" y="100012"/>
                  </a:cubicBezTo>
                  <a:cubicBezTo>
                    <a:pt x="155235" y="93259"/>
                    <a:pt x="163318" y="87061"/>
                    <a:pt x="171450" y="80962"/>
                  </a:cubicBezTo>
                  <a:cubicBezTo>
                    <a:pt x="214519" y="48660"/>
                    <a:pt x="146071" y="106342"/>
                    <a:pt x="204788" y="47625"/>
                  </a:cubicBezTo>
                  <a:cubicBezTo>
                    <a:pt x="208835" y="43578"/>
                    <a:pt x="215028" y="42147"/>
                    <a:pt x="219075" y="38100"/>
                  </a:cubicBezTo>
                  <a:cubicBezTo>
                    <a:pt x="226263" y="30912"/>
                    <a:pt x="230187" y="20637"/>
                    <a:pt x="238125" y="14287"/>
                  </a:cubicBezTo>
                  <a:cubicBezTo>
                    <a:pt x="246441" y="7634"/>
                    <a:pt x="257175" y="4762"/>
                    <a:pt x="266700" y="0"/>
                  </a:cubicBezTo>
                  <a:lnTo>
                    <a:pt x="333375" y="14287"/>
                  </a:lnTo>
                  <a:cubicBezTo>
                    <a:pt x="358872" y="20236"/>
                    <a:pt x="409575" y="33337"/>
                    <a:pt x="409575" y="33337"/>
                  </a:cubicBezTo>
                  <a:cubicBezTo>
                    <a:pt x="414338" y="36512"/>
                    <a:pt x="418139" y="42862"/>
                    <a:pt x="423863" y="42862"/>
                  </a:cubicBezTo>
                  <a:cubicBezTo>
                    <a:pt x="429587" y="42862"/>
                    <a:pt x="433031" y="35897"/>
                    <a:pt x="438150" y="33337"/>
                  </a:cubicBezTo>
                  <a:cubicBezTo>
                    <a:pt x="449541" y="27642"/>
                    <a:pt x="463884" y="23172"/>
                    <a:pt x="476250" y="19050"/>
                  </a:cubicBezTo>
                  <a:cubicBezTo>
                    <a:pt x="496888" y="22225"/>
                    <a:pt x="518612" y="21243"/>
                    <a:pt x="538163" y="28575"/>
                  </a:cubicBezTo>
                  <a:cubicBezTo>
                    <a:pt x="545595" y="31362"/>
                    <a:pt x="546352" y="42544"/>
                    <a:pt x="552450" y="47625"/>
                  </a:cubicBezTo>
                  <a:cubicBezTo>
                    <a:pt x="556307" y="50839"/>
                    <a:pt x="562124" y="50410"/>
                    <a:pt x="566738" y="52387"/>
                  </a:cubicBezTo>
                  <a:cubicBezTo>
                    <a:pt x="573264" y="55184"/>
                    <a:pt x="579141" y="59419"/>
                    <a:pt x="585788" y="61912"/>
                  </a:cubicBezTo>
                  <a:cubicBezTo>
                    <a:pt x="591917" y="64210"/>
                    <a:pt x="598392" y="65537"/>
                    <a:pt x="604838" y="66675"/>
                  </a:cubicBezTo>
                  <a:cubicBezTo>
                    <a:pt x="625400" y="70304"/>
                    <a:pt x="646113" y="73025"/>
                    <a:pt x="666750" y="76200"/>
                  </a:cubicBezTo>
                  <a:cubicBezTo>
                    <a:pt x="671513" y="82550"/>
                    <a:pt x="675811" y="89276"/>
                    <a:pt x="681038" y="95250"/>
                  </a:cubicBezTo>
                  <a:cubicBezTo>
                    <a:pt x="686952" y="102008"/>
                    <a:pt x="693270" y="108456"/>
                    <a:pt x="700088" y="114300"/>
                  </a:cubicBezTo>
                  <a:cubicBezTo>
                    <a:pt x="711415" y="124009"/>
                    <a:pt x="745908" y="140349"/>
                    <a:pt x="752475" y="142875"/>
                  </a:cubicBezTo>
                  <a:cubicBezTo>
                    <a:pt x="760030" y="145781"/>
                    <a:pt x="768350" y="146050"/>
                    <a:pt x="776288" y="147637"/>
                  </a:cubicBezTo>
                  <a:cubicBezTo>
                    <a:pt x="785813" y="152400"/>
                    <a:pt x="795879" y="156208"/>
                    <a:pt x="804863" y="161925"/>
                  </a:cubicBezTo>
                  <a:cubicBezTo>
                    <a:pt x="847567" y="189101"/>
                    <a:pt x="811637" y="175296"/>
                    <a:pt x="842963" y="185737"/>
                  </a:cubicBezTo>
                  <a:cubicBezTo>
                    <a:pt x="853415" y="192705"/>
                    <a:pt x="864214" y="200758"/>
                    <a:pt x="876300" y="204787"/>
                  </a:cubicBezTo>
                  <a:cubicBezTo>
                    <a:pt x="883979" y="207347"/>
                    <a:pt x="892175" y="207962"/>
                    <a:pt x="900113" y="209550"/>
                  </a:cubicBezTo>
                  <a:cubicBezTo>
                    <a:pt x="907651" y="213319"/>
                    <a:pt x="934885" y="229518"/>
                    <a:pt x="947738" y="228600"/>
                  </a:cubicBezTo>
                  <a:cubicBezTo>
                    <a:pt x="963886" y="227447"/>
                    <a:pt x="979488" y="222250"/>
                    <a:pt x="995363" y="219075"/>
                  </a:cubicBezTo>
                  <a:cubicBezTo>
                    <a:pt x="1003300" y="214312"/>
                    <a:pt x="1010716" y="208546"/>
                    <a:pt x="1019175" y="204787"/>
                  </a:cubicBezTo>
                  <a:cubicBezTo>
                    <a:pt x="1025156" y="202129"/>
                    <a:pt x="1031931" y="201823"/>
                    <a:pt x="1038225" y="200025"/>
                  </a:cubicBezTo>
                  <a:cubicBezTo>
                    <a:pt x="1043052" y="198646"/>
                    <a:pt x="1047750" y="196850"/>
                    <a:pt x="1052513" y="195262"/>
                  </a:cubicBezTo>
                  <a:cubicBezTo>
                    <a:pt x="1068388" y="196850"/>
                    <a:pt x="1087545" y="190230"/>
                    <a:pt x="1100138" y="200025"/>
                  </a:cubicBezTo>
                  <a:cubicBezTo>
                    <a:pt x="1107760" y="205954"/>
                    <a:pt x="1095375" y="218944"/>
                    <a:pt x="1095375" y="228600"/>
                  </a:cubicBezTo>
                  <a:cubicBezTo>
                    <a:pt x="1095375" y="228722"/>
                    <a:pt x="1102655" y="259692"/>
                    <a:pt x="1104900" y="261937"/>
                  </a:cubicBezTo>
                  <a:cubicBezTo>
                    <a:pt x="1112995" y="270032"/>
                    <a:pt x="1126324" y="272048"/>
                    <a:pt x="1133475" y="280987"/>
                  </a:cubicBezTo>
                  <a:cubicBezTo>
                    <a:pt x="1137289" y="285754"/>
                    <a:pt x="1158220" y="313716"/>
                    <a:pt x="1166813" y="319087"/>
                  </a:cubicBezTo>
                  <a:cubicBezTo>
                    <a:pt x="1181162" y="328055"/>
                    <a:pt x="1190809" y="327330"/>
                    <a:pt x="1204913" y="333375"/>
                  </a:cubicBezTo>
                  <a:cubicBezTo>
                    <a:pt x="1221833" y="340627"/>
                    <a:pt x="1223901" y="342858"/>
                    <a:pt x="1238250" y="352425"/>
                  </a:cubicBezTo>
                  <a:cubicBezTo>
                    <a:pt x="1255714" y="378620"/>
                    <a:pt x="1238248" y="356391"/>
                    <a:pt x="1262063" y="376237"/>
                  </a:cubicBezTo>
                  <a:cubicBezTo>
                    <a:pt x="1267237" y="380549"/>
                    <a:pt x="1270639" y="386955"/>
                    <a:pt x="1276350" y="390525"/>
                  </a:cubicBezTo>
                  <a:cubicBezTo>
                    <a:pt x="1283600" y="395056"/>
                    <a:pt x="1292225" y="396875"/>
                    <a:pt x="1300163" y="400050"/>
                  </a:cubicBezTo>
                  <a:cubicBezTo>
                    <a:pt x="1328738" y="396875"/>
                    <a:pt x="1358084" y="397842"/>
                    <a:pt x="1385888" y="390525"/>
                  </a:cubicBezTo>
                  <a:cubicBezTo>
                    <a:pt x="1390743" y="389247"/>
                    <a:pt x="1388405" y="380727"/>
                    <a:pt x="1390650" y="376237"/>
                  </a:cubicBezTo>
                  <a:cubicBezTo>
                    <a:pt x="1393210" y="371118"/>
                    <a:pt x="1397615" y="367069"/>
                    <a:pt x="1400175" y="361950"/>
                  </a:cubicBezTo>
                  <a:cubicBezTo>
                    <a:pt x="1402420" y="357460"/>
                    <a:pt x="1402153" y="351839"/>
                    <a:pt x="1404938" y="347662"/>
                  </a:cubicBezTo>
                  <a:cubicBezTo>
                    <a:pt x="1408674" y="342058"/>
                    <a:pt x="1414913" y="338549"/>
                    <a:pt x="1419225" y="333375"/>
                  </a:cubicBezTo>
                  <a:cubicBezTo>
                    <a:pt x="1422889" y="328978"/>
                    <a:pt x="1425383" y="323716"/>
                    <a:pt x="1428750" y="319087"/>
                  </a:cubicBezTo>
                  <a:cubicBezTo>
                    <a:pt x="1452294" y="286713"/>
                    <a:pt x="1444808" y="282926"/>
                    <a:pt x="1471613" y="276225"/>
                  </a:cubicBezTo>
                  <a:cubicBezTo>
                    <a:pt x="1473153" y="275840"/>
                    <a:pt x="1474788" y="276225"/>
                    <a:pt x="1476375" y="27622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665AAE2-4F98-9407-86E9-0D1D0E8D7935}"/>
                </a:ext>
              </a:extLst>
            </p:cNvPr>
            <p:cNvSpPr/>
            <p:nvPr/>
          </p:nvSpPr>
          <p:spPr bwMode="gray">
            <a:xfrm>
              <a:off x="10236199" y="4001281"/>
              <a:ext cx="303250" cy="489765"/>
            </a:xfrm>
            <a:custGeom>
              <a:avLst/>
              <a:gdLst>
                <a:gd name="connsiteX0" fmla="*/ 401039 w 401039"/>
                <a:gd name="connsiteY0" fmla="*/ 0 h 647700"/>
                <a:gd name="connsiteX1" fmla="*/ 377227 w 401039"/>
                <a:gd name="connsiteY1" fmla="*/ 19050 h 647700"/>
                <a:gd name="connsiteX2" fmla="*/ 334364 w 401039"/>
                <a:gd name="connsiteY2" fmla="*/ 42863 h 647700"/>
                <a:gd name="connsiteX3" fmla="*/ 329602 w 401039"/>
                <a:gd name="connsiteY3" fmla="*/ 66675 h 647700"/>
                <a:gd name="connsiteX4" fmla="*/ 310552 w 401039"/>
                <a:gd name="connsiteY4" fmla="*/ 95250 h 647700"/>
                <a:gd name="connsiteX5" fmla="*/ 215302 w 401039"/>
                <a:gd name="connsiteY5" fmla="*/ 109538 h 647700"/>
                <a:gd name="connsiteX6" fmla="*/ 210539 w 401039"/>
                <a:gd name="connsiteY6" fmla="*/ 157163 h 647700"/>
                <a:gd name="connsiteX7" fmla="*/ 215302 w 401039"/>
                <a:gd name="connsiteY7" fmla="*/ 176213 h 647700"/>
                <a:gd name="connsiteX8" fmla="*/ 210539 w 401039"/>
                <a:gd name="connsiteY8" fmla="*/ 300038 h 647700"/>
                <a:gd name="connsiteX9" fmla="*/ 196252 w 401039"/>
                <a:gd name="connsiteY9" fmla="*/ 333375 h 647700"/>
                <a:gd name="connsiteX10" fmla="*/ 186727 w 401039"/>
                <a:gd name="connsiteY10" fmla="*/ 366713 h 647700"/>
                <a:gd name="connsiteX11" fmla="*/ 153389 w 401039"/>
                <a:gd name="connsiteY11" fmla="*/ 385763 h 647700"/>
                <a:gd name="connsiteX12" fmla="*/ 139102 w 401039"/>
                <a:gd name="connsiteY12" fmla="*/ 395288 h 647700"/>
                <a:gd name="connsiteX13" fmla="*/ 134339 w 401039"/>
                <a:gd name="connsiteY13" fmla="*/ 423863 h 647700"/>
                <a:gd name="connsiteX14" fmla="*/ 91477 w 401039"/>
                <a:gd name="connsiteY14" fmla="*/ 447675 h 647700"/>
                <a:gd name="connsiteX15" fmla="*/ 72427 w 401039"/>
                <a:gd name="connsiteY15" fmla="*/ 471488 h 647700"/>
                <a:gd name="connsiteX16" fmla="*/ 62902 w 401039"/>
                <a:gd name="connsiteY16" fmla="*/ 495300 h 647700"/>
                <a:gd name="connsiteX17" fmla="*/ 58139 w 401039"/>
                <a:gd name="connsiteY17" fmla="*/ 509588 h 647700"/>
                <a:gd name="connsiteX18" fmla="*/ 39089 w 401039"/>
                <a:gd name="connsiteY18" fmla="*/ 538163 h 647700"/>
                <a:gd name="connsiteX19" fmla="*/ 24802 w 401039"/>
                <a:gd name="connsiteY19" fmla="*/ 547688 h 647700"/>
                <a:gd name="connsiteX20" fmla="*/ 989 w 401039"/>
                <a:gd name="connsiteY20" fmla="*/ 590550 h 647700"/>
                <a:gd name="connsiteX21" fmla="*/ 989 w 401039"/>
                <a:gd name="connsiteY21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1039" h="647700">
                  <a:moveTo>
                    <a:pt x="401039" y="0"/>
                  </a:moveTo>
                  <a:cubicBezTo>
                    <a:pt x="393102" y="6350"/>
                    <a:pt x="385943" y="13820"/>
                    <a:pt x="377227" y="19050"/>
                  </a:cubicBezTo>
                  <a:cubicBezTo>
                    <a:pt x="304472" y="62703"/>
                    <a:pt x="398851" y="-5504"/>
                    <a:pt x="334364" y="42863"/>
                  </a:cubicBezTo>
                  <a:cubicBezTo>
                    <a:pt x="332777" y="50800"/>
                    <a:pt x="332951" y="59306"/>
                    <a:pt x="329602" y="66675"/>
                  </a:cubicBezTo>
                  <a:cubicBezTo>
                    <a:pt x="324865" y="77097"/>
                    <a:pt x="321412" y="91630"/>
                    <a:pt x="310552" y="95250"/>
                  </a:cubicBezTo>
                  <a:cubicBezTo>
                    <a:pt x="260839" y="111821"/>
                    <a:pt x="291992" y="104060"/>
                    <a:pt x="215302" y="109538"/>
                  </a:cubicBezTo>
                  <a:cubicBezTo>
                    <a:pt x="213714" y="125413"/>
                    <a:pt x="210539" y="141209"/>
                    <a:pt x="210539" y="157163"/>
                  </a:cubicBezTo>
                  <a:cubicBezTo>
                    <a:pt x="210539" y="163708"/>
                    <a:pt x="215302" y="169668"/>
                    <a:pt x="215302" y="176213"/>
                  </a:cubicBezTo>
                  <a:cubicBezTo>
                    <a:pt x="215302" y="217519"/>
                    <a:pt x="213381" y="258830"/>
                    <a:pt x="210539" y="300038"/>
                  </a:cubicBezTo>
                  <a:cubicBezTo>
                    <a:pt x="209873" y="309700"/>
                    <a:pt x="199055" y="325901"/>
                    <a:pt x="196252" y="333375"/>
                  </a:cubicBezTo>
                  <a:cubicBezTo>
                    <a:pt x="195770" y="334660"/>
                    <a:pt x="189341" y="363576"/>
                    <a:pt x="186727" y="366713"/>
                  </a:cubicBezTo>
                  <a:cubicBezTo>
                    <a:pt x="170278" y="386453"/>
                    <a:pt x="171022" y="376946"/>
                    <a:pt x="153389" y="385763"/>
                  </a:cubicBezTo>
                  <a:cubicBezTo>
                    <a:pt x="148270" y="388323"/>
                    <a:pt x="143864" y="392113"/>
                    <a:pt x="139102" y="395288"/>
                  </a:cubicBezTo>
                  <a:cubicBezTo>
                    <a:pt x="137514" y="404813"/>
                    <a:pt x="139695" y="415828"/>
                    <a:pt x="134339" y="423863"/>
                  </a:cubicBezTo>
                  <a:cubicBezTo>
                    <a:pt x="131349" y="428348"/>
                    <a:pt x="98167" y="444330"/>
                    <a:pt x="91477" y="447675"/>
                  </a:cubicBezTo>
                  <a:cubicBezTo>
                    <a:pt x="85127" y="455613"/>
                    <a:pt x="77657" y="462772"/>
                    <a:pt x="72427" y="471488"/>
                  </a:cubicBezTo>
                  <a:cubicBezTo>
                    <a:pt x="68029" y="478819"/>
                    <a:pt x="65904" y="487296"/>
                    <a:pt x="62902" y="495300"/>
                  </a:cubicBezTo>
                  <a:cubicBezTo>
                    <a:pt x="61139" y="500001"/>
                    <a:pt x="60577" y="505199"/>
                    <a:pt x="58139" y="509588"/>
                  </a:cubicBezTo>
                  <a:cubicBezTo>
                    <a:pt x="52580" y="519595"/>
                    <a:pt x="48614" y="531813"/>
                    <a:pt x="39089" y="538163"/>
                  </a:cubicBezTo>
                  <a:cubicBezTo>
                    <a:pt x="34327" y="541338"/>
                    <a:pt x="28849" y="543641"/>
                    <a:pt x="24802" y="547688"/>
                  </a:cubicBezTo>
                  <a:cubicBezTo>
                    <a:pt x="15513" y="556977"/>
                    <a:pt x="2554" y="577246"/>
                    <a:pt x="989" y="590550"/>
                  </a:cubicBezTo>
                  <a:cubicBezTo>
                    <a:pt x="-1237" y="609470"/>
                    <a:pt x="989" y="628650"/>
                    <a:pt x="989" y="64770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41E6201-91DC-B7DA-EEE9-E9872085766B}"/>
                </a:ext>
              </a:extLst>
            </p:cNvPr>
            <p:cNvSpPr/>
            <p:nvPr/>
          </p:nvSpPr>
          <p:spPr bwMode="gray">
            <a:xfrm>
              <a:off x="10186530" y="3810417"/>
              <a:ext cx="208871" cy="334913"/>
            </a:xfrm>
            <a:custGeom>
              <a:avLst/>
              <a:gdLst>
                <a:gd name="connsiteX0" fmla="*/ 0 w 276225"/>
                <a:gd name="connsiteY0" fmla="*/ 0 h 442912"/>
                <a:gd name="connsiteX1" fmla="*/ 9525 w 276225"/>
                <a:gd name="connsiteY1" fmla="*/ 66675 h 442912"/>
                <a:gd name="connsiteX2" fmla="*/ 14288 w 276225"/>
                <a:gd name="connsiteY2" fmla="*/ 80962 h 442912"/>
                <a:gd name="connsiteX3" fmla="*/ 28575 w 276225"/>
                <a:gd name="connsiteY3" fmla="*/ 95250 h 442912"/>
                <a:gd name="connsiteX4" fmla="*/ 42863 w 276225"/>
                <a:gd name="connsiteY4" fmla="*/ 104775 h 442912"/>
                <a:gd name="connsiteX5" fmla="*/ 57150 w 276225"/>
                <a:gd name="connsiteY5" fmla="*/ 171450 h 442912"/>
                <a:gd name="connsiteX6" fmla="*/ 71438 w 276225"/>
                <a:gd name="connsiteY6" fmla="*/ 180975 h 442912"/>
                <a:gd name="connsiteX7" fmla="*/ 85725 w 276225"/>
                <a:gd name="connsiteY7" fmla="*/ 200025 h 442912"/>
                <a:gd name="connsiteX8" fmla="*/ 90488 w 276225"/>
                <a:gd name="connsiteY8" fmla="*/ 219075 h 442912"/>
                <a:gd name="connsiteX9" fmla="*/ 95250 w 276225"/>
                <a:gd name="connsiteY9" fmla="*/ 242887 h 442912"/>
                <a:gd name="connsiteX10" fmla="*/ 109538 w 276225"/>
                <a:gd name="connsiteY10" fmla="*/ 257175 h 442912"/>
                <a:gd name="connsiteX11" fmla="*/ 119063 w 276225"/>
                <a:gd name="connsiteY11" fmla="*/ 271462 h 442912"/>
                <a:gd name="connsiteX12" fmla="*/ 123825 w 276225"/>
                <a:gd name="connsiteY12" fmla="*/ 290512 h 442912"/>
                <a:gd name="connsiteX13" fmla="*/ 128588 w 276225"/>
                <a:gd name="connsiteY13" fmla="*/ 304800 h 442912"/>
                <a:gd name="connsiteX14" fmla="*/ 133350 w 276225"/>
                <a:gd name="connsiteY14" fmla="*/ 328612 h 442912"/>
                <a:gd name="connsiteX15" fmla="*/ 166688 w 276225"/>
                <a:gd name="connsiteY15" fmla="*/ 361950 h 442912"/>
                <a:gd name="connsiteX16" fmla="*/ 180975 w 276225"/>
                <a:gd name="connsiteY16" fmla="*/ 385762 h 442912"/>
                <a:gd name="connsiteX17" fmla="*/ 233363 w 276225"/>
                <a:gd name="connsiteY17" fmla="*/ 419100 h 442912"/>
                <a:gd name="connsiteX18" fmla="*/ 261938 w 276225"/>
                <a:gd name="connsiteY18" fmla="*/ 423862 h 442912"/>
                <a:gd name="connsiteX19" fmla="*/ 276225 w 276225"/>
                <a:gd name="connsiteY19" fmla="*/ 442912 h 442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6225" h="442912">
                  <a:moveTo>
                    <a:pt x="0" y="0"/>
                  </a:moveTo>
                  <a:cubicBezTo>
                    <a:pt x="3175" y="22225"/>
                    <a:pt x="5623" y="44566"/>
                    <a:pt x="9525" y="66675"/>
                  </a:cubicBezTo>
                  <a:cubicBezTo>
                    <a:pt x="10397" y="71619"/>
                    <a:pt x="11503" y="76785"/>
                    <a:pt x="14288" y="80962"/>
                  </a:cubicBezTo>
                  <a:cubicBezTo>
                    <a:pt x="18024" y="86566"/>
                    <a:pt x="23401" y="90938"/>
                    <a:pt x="28575" y="95250"/>
                  </a:cubicBezTo>
                  <a:cubicBezTo>
                    <a:pt x="32972" y="98914"/>
                    <a:pt x="38100" y="101600"/>
                    <a:pt x="42863" y="104775"/>
                  </a:cubicBezTo>
                  <a:cubicBezTo>
                    <a:pt x="44952" y="123576"/>
                    <a:pt x="44437" y="153653"/>
                    <a:pt x="57150" y="171450"/>
                  </a:cubicBezTo>
                  <a:cubicBezTo>
                    <a:pt x="60477" y="176108"/>
                    <a:pt x="66675" y="177800"/>
                    <a:pt x="71438" y="180975"/>
                  </a:cubicBezTo>
                  <a:cubicBezTo>
                    <a:pt x="76200" y="187325"/>
                    <a:pt x="82175" y="192926"/>
                    <a:pt x="85725" y="200025"/>
                  </a:cubicBezTo>
                  <a:cubicBezTo>
                    <a:pt x="88652" y="205879"/>
                    <a:pt x="89068" y="212685"/>
                    <a:pt x="90488" y="219075"/>
                  </a:cubicBezTo>
                  <a:cubicBezTo>
                    <a:pt x="92244" y="226977"/>
                    <a:pt x="91630" y="235647"/>
                    <a:pt x="95250" y="242887"/>
                  </a:cubicBezTo>
                  <a:cubicBezTo>
                    <a:pt x="98262" y="248911"/>
                    <a:pt x="105226" y="252001"/>
                    <a:pt x="109538" y="257175"/>
                  </a:cubicBezTo>
                  <a:cubicBezTo>
                    <a:pt x="113202" y="261572"/>
                    <a:pt x="115888" y="266700"/>
                    <a:pt x="119063" y="271462"/>
                  </a:cubicBezTo>
                  <a:cubicBezTo>
                    <a:pt x="120650" y="277812"/>
                    <a:pt x="122027" y="284218"/>
                    <a:pt x="123825" y="290512"/>
                  </a:cubicBezTo>
                  <a:cubicBezTo>
                    <a:pt x="125204" y="295339"/>
                    <a:pt x="127370" y="299930"/>
                    <a:pt x="128588" y="304800"/>
                  </a:cubicBezTo>
                  <a:cubicBezTo>
                    <a:pt x="130551" y="312653"/>
                    <a:pt x="130062" y="321215"/>
                    <a:pt x="133350" y="328612"/>
                  </a:cubicBezTo>
                  <a:cubicBezTo>
                    <a:pt x="140758" y="345280"/>
                    <a:pt x="152931" y="351632"/>
                    <a:pt x="166688" y="361950"/>
                  </a:cubicBezTo>
                  <a:cubicBezTo>
                    <a:pt x="171450" y="369887"/>
                    <a:pt x="175114" y="378598"/>
                    <a:pt x="180975" y="385762"/>
                  </a:cubicBezTo>
                  <a:cubicBezTo>
                    <a:pt x="206870" y="417412"/>
                    <a:pt x="201391" y="413287"/>
                    <a:pt x="233363" y="419100"/>
                  </a:cubicBezTo>
                  <a:cubicBezTo>
                    <a:pt x="242864" y="420827"/>
                    <a:pt x="252413" y="422275"/>
                    <a:pt x="261938" y="423862"/>
                  </a:cubicBezTo>
                  <a:cubicBezTo>
                    <a:pt x="272708" y="440018"/>
                    <a:pt x="267416" y="434103"/>
                    <a:pt x="276225" y="442912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4892D19-4BF1-CDD3-C039-A1605F32A03B}"/>
                </a:ext>
              </a:extLst>
            </p:cNvPr>
            <p:cNvSpPr/>
            <p:nvPr/>
          </p:nvSpPr>
          <p:spPr bwMode="gray">
            <a:xfrm>
              <a:off x="11061626" y="4941199"/>
              <a:ext cx="86864" cy="144048"/>
            </a:xfrm>
            <a:custGeom>
              <a:avLst/>
              <a:gdLst>
                <a:gd name="connsiteX0" fmla="*/ 0 w 114874"/>
                <a:gd name="connsiteY0" fmla="*/ 190500 h 190500"/>
                <a:gd name="connsiteX1" fmla="*/ 4762 w 114874"/>
                <a:gd name="connsiteY1" fmla="*/ 104775 h 190500"/>
                <a:gd name="connsiteX2" fmla="*/ 9525 w 114874"/>
                <a:gd name="connsiteY2" fmla="*/ 90487 h 190500"/>
                <a:gd name="connsiteX3" fmla="*/ 47625 w 114874"/>
                <a:gd name="connsiteY3" fmla="*/ 42862 h 190500"/>
                <a:gd name="connsiteX4" fmla="*/ 61912 w 114874"/>
                <a:gd name="connsiteY4" fmla="*/ 38100 h 190500"/>
                <a:gd name="connsiteX5" fmla="*/ 80962 w 114874"/>
                <a:gd name="connsiteY5" fmla="*/ 23812 h 190500"/>
                <a:gd name="connsiteX6" fmla="*/ 114300 w 114874"/>
                <a:gd name="connsiteY6" fmla="*/ 4762 h 190500"/>
                <a:gd name="connsiteX7" fmla="*/ 114300 w 114874"/>
                <a:gd name="connsiteY7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874" h="190500">
                  <a:moveTo>
                    <a:pt x="0" y="190500"/>
                  </a:moveTo>
                  <a:cubicBezTo>
                    <a:pt x="1587" y="161925"/>
                    <a:pt x="2049" y="133265"/>
                    <a:pt x="4762" y="104775"/>
                  </a:cubicBezTo>
                  <a:cubicBezTo>
                    <a:pt x="5238" y="99777"/>
                    <a:pt x="6667" y="94615"/>
                    <a:pt x="9525" y="90487"/>
                  </a:cubicBezTo>
                  <a:cubicBezTo>
                    <a:pt x="21097" y="73772"/>
                    <a:pt x="28338" y="49290"/>
                    <a:pt x="47625" y="42862"/>
                  </a:cubicBezTo>
                  <a:lnTo>
                    <a:pt x="61912" y="38100"/>
                  </a:lnTo>
                  <a:cubicBezTo>
                    <a:pt x="68262" y="33337"/>
                    <a:pt x="74265" y="28074"/>
                    <a:pt x="80962" y="23812"/>
                  </a:cubicBezTo>
                  <a:cubicBezTo>
                    <a:pt x="91760" y="16941"/>
                    <a:pt x="103885" y="12201"/>
                    <a:pt x="114300" y="4762"/>
                  </a:cubicBezTo>
                  <a:cubicBezTo>
                    <a:pt x="115592" y="3839"/>
                    <a:pt x="114300" y="1587"/>
                    <a:pt x="114300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B0D5D38-4DA6-D5CA-1359-0B5F28B17997}"/>
                </a:ext>
              </a:extLst>
            </p:cNvPr>
            <p:cNvSpPr/>
            <p:nvPr/>
          </p:nvSpPr>
          <p:spPr bwMode="gray">
            <a:xfrm>
              <a:off x="11461361" y="4678309"/>
              <a:ext cx="360121" cy="108037"/>
            </a:xfrm>
            <a:custGeom>
              <a:avLst/>
              <a:gdLst>
                <a:gd name="connsiteX0" fmla="*/ 0 w 476250"/>
                <a:gd name="connsiteY0" fmla="*/ 142875 h 142875"/>
                <a:gd name="connsiteX1" fmla="*/ 57150 w 476250"/>
                <a:gd name="connsiteY1" fmla="*/ 138113 h 142875"/>
                <a:gd name="connsiteX2" fmla="*/ 85725 w 476250"/>
                <a:gd name="connsiteY2" fmla="*/ 128588 h 142875"/>
                <a:gd name="connsiteX3" fmla="*/ 157163 w 476250"/>
                <a:gd name="connsiteY3" fmla="*/ 123825 h 142875"/>
                <a:gd name="connsiteX4" fmla="*/ 200025 w 476250"/>
                <a:gd name="connsiteY4" fmla="*/ 100013 h 142875"/>
                <a:gd name="connsiteX5" fmla="*/ 228600 w 476250"/>
                <a:gd name="connsiteY5" fmla="*/ 66675 h 142875"/>
                <a:gd name="connsiteX6" fmla="*/ 247650 w 476250"/>
                <a:gd name="connsiteY6" fmla="*/ 52388 h 142875"/>
                <a:gd name="connsiteX7" fmla="*/ 319088 w 476250"/>
                <a:gd name="connsiteY7" fmla="*/ 47625 h 142875"/>
                <a:gd name="connsiteX8" fmla="*/ 347663 w 476250"/>
                <a:gd name="connsiteY8" fmla="*/ 42863 h 142875"/>
                <a:gd name="connsiteX9" fmla="*/ 381000 w 476250"/>
                <a:gd name="connsiteY9" fmla="*/ 38100 h 142875"/>
                <a:gd name="connsiteX10" fmla="*/ 409575 w 476250"/>
                <a:gd name="connsiteY10" fmla="*/ 28575 h 142875"/>
                <a:gd name="connsiteX11" fmla="*/ 428625 w 476250"/>
                <a:gd name="connsiteY11" fmla="*/ 23813 h 142875"/>
                <a:gd name="connsiteX12" fmla="*/ 476250 w 476250"/>
                <a:gd name="connsiteY12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0" h="142875">
                  <a:moveTo>
                    <a:pt x="0" y="142875"/>
                  </a:moveTo>
                  <a:cubicBezTo>
                    <a:pt x="19050" y="141288"/>
                    <a:pt x="38294" y="141256"/>
                    <a:pt x="57150" y="138113"/>
                  </a:cubicBezTo>
                  <a:cubicBezTo>
                    <a:pt x="67054" y="136462"/>
                    <a:pt x="75786" y="130008"/>
                    <a:pt x="85725" y="128588"/>
                  </a:cubicBezTo>
                  <a:cubicBezTo>
                    <a:pt x="109351" y="125213"/>
                    <a:pt x="133350" y="125413"/>
                    <a:pt x="157163" y="123825"/>
                  </a:cubicBezTo>
                  <a:cubicBezTo>
                    <a:pt x="173598" y="117251"/>
                    <a:pt x="187828" y="113952"/>
                    <a:pt x="200025" y="100013"/>
                  </a:cubicBezTo>
                  <a:cubicBezTo>
                    <a:pt x="242270" y="51734"/>
                    <a:pt x="191146" y="93428"/>
                    <a:pt x="228600" y="66675"/>
                  </a:cubicBezTo>
                  <a:cubicBezTo>
                    <a:pt x="235059" y="62061"/>
                    <a:pt x="239883" y="54023"/>
                    <a:pt x="247650" y="52388"/>
                  </a:cubicBezTo>
                  <a:cubicBezTo>
                    <a:pt x="271004" y="47471"/>
                    <a:pt x="295275" y="49213"/>
                    <a:pt x="319088" y="47625"/>
                  </a:cubicBezTo>
                  <a:lnTo>
                    <a:pt x="347663" y="42863"/>
                  </a:lnTo>
                  <a:cubicBezTo>
                    <a:pt x="358758" y="41156"/>
                    <a:pt x="370062" y="40624"/>
                    <a:pt x="381000" y="38100"/>
                  </a:cubicBezTo>
                  <a:cubicBezTo>
                    <a:pt x="390783" y="35842"/>
                    <a:pt x="399958" y="31460"/>
                    <a:pt x="409575" y="28575"/>
                  </a:cubicBezTo>
                  <a:cubicBezTo>
                    <a:pt x="415844" y="26694"/>
                    <a:pt x="422275" y="25400"/>
                    <a:pt x="428625" y="23813"/>
                  </a:cubicBezTo>
                  <a:cubicBezTo>
                    <a:pt x="466322" y="2272"/>
                    <a:pt x="449821" y="8811"/>
                    <a:pt x="476250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8C1F1629-3F8F-8BCC-2C0E-C0B115FD8FE6}"/>
                </a:ext>
              </a:extLst>
            </p:cNvPr>
            <p:cNvSpPr/>
            <p:nvPr/>
          </p:nvSpPr>
          <p:spPr bwMode="gray">
            <a:xfrm>
              <a:off x="9163784" y="4397415"/>
              <a:ext cx="957924" cy="496967"/>
            </a:xfrm>
            <a:custGeom>
              <a:avLst/>
              <a:gdLst>
                <a:gd name="connsiteX0" fmla="*/ 0 w 1266825"/>
                <a:gd name="connsiteY0" fmla="*/ 0 h 657225"/>
                <a:gd name="connsiteX1" fmla="*/ 23813 w 1266825"/>
                <a:gd name="connsiteY1" fmla="*/ 19050 h 657225"/>
                <a:gd name="connsiteX2" fmla="*/ 52388 w 1266825"/>
                <a:gd name="connsiteY2" fmla="*/ 42863 h 657225"/>
                <a:gd name="connsiteX3" fmla="*/ 80963 w 1266825"/>
                <a:gd name="connsiteY3" fmla="*/ 100013 h 657225"/>
                <a:gd name="connsiteX4" fmla="*/ 100013 w 1266825"/>
                <a:gd name="connsiteY4" fmla="*/ 123825 h 657225"/>
                <a:gd name="connsiteX5" fmla="*/ 114300 w 1266825"/>
                <a:gd name="connsiteY5" fmla="*/ 133350 h 657225"/>
                <a:gd name="connsiteX6" fmla="*/ 152400 w 1266825"/>
                <a:gd name="connsiteY6" fmla="*/ 180975 h 657225"/>
                <a:gd name="connsiteX7" fmla="*/ 185738 w 1266825"/>
                <a:gd name="connsiteY7" fmla="*/ 209550 h 657225"/>
                <a:gd name="connsiteX8" fmla="*/ 200025 w 1266825"/>
                <a:gd name="connsiteY8" fmla="*/ 219075 h 657225"/>
                <a:gd name="connsiteX9" fmla="*/ 219075 w 1266825"/>
                <a:gd name="connsiteY9" fmla="*/ 242888 h 657225"/>
                <a:gd name="connsiteX10" fmla="*/ 238125 w 1266825"/>
                <a:gd name="connsiteY10" fmla="*/ 257175 h 657225"/>
                <a:gd name="connsiteX11" fmla="*/ 252413 w 1266825"/>
                <a:gd name="connsiteY11" fmla="*/ 271463 h 657225"/>
                <a:gd name="connsiteX12" fmla="*/ 271463 w 1266825"/>
                <a:gd name="connsiteY12" fmla="*/ 295275 h 657225"/>
                <a:gd name="connsiteX13" fmla="*/ 285750 w 1266825"/>
                <a:gd name="connsiteY13" fmla="*/ 314325 h 657225"/>
                <a:gd name="connsiteX14" fmla="*/ 304800 w 1266825"/>
                <a:gd name="connsiteY14" fmla="*/ 333375 h 657225"/>
                <a:gd name="connsiteX15" fmla="*/ 314325 w 1266825"/>
                <a:gd name="connsiteY15" fmla="*/ 347663 h 657225"/>
                <a:gd name="connsiteX16" fmla="*/ 342900 w 1266825"/>
                <a:gd name="connsiteY16" fmla="*/ 361950 h 657225"/>
                <a:gd name="connsiteX17" fmla="*/ 366713 w 1266825"/>
                <a:gd name="connsiteY17" fmla="*/ 371475 h 657225"/>
                <a:gd name="connsiteX18" fmla="*/ 400050 w 1266825"/>
                <a:gd name="connsiteY18" fmla="*/ 390525 h 657225"/>
                <a:gd name="connsiteX19" fmla="*/ 433388 w 1266825"/>
                <a:gd name="connsiteY19" fmla="*/ 400050 h 657225"/>
                <a:gd name="connsiteX20" fmla="*/ 452438 w 1266825"/>
                <a:gd name="connsiteY20" fmla="*/ 414338 h 657225"/>
                <a:gd name="connsiteX21" fmla="*/ 471488 w 1266825"/>
                <a:gd name="connsiteY21" fmla="*/ 423863 h 657225"/>
                <a:gd name="connsiteX22" fmla="*/ 485775 w 1266825"/>
                <a:gd name="connsiteY22" fmla="*/ 442913 h 657225"/>
                <a:gd name="connsiteX23" fmla="*/ 519113 w 1266825"/>
                <a:gd name="connsiteY23" fmla="*/ 476250 h 657225"/>
                <a:gd name="connsiteX24" fmla="*/ 533400 w 1266825"/>
                <a:gd name="connsiteY24" fmla="*/ 490538 h 657225"/>
                <a:gd name="connsiteX25" fmla="*/ 547688 w 1266825"/>
                <a:gd name="connsiteY25" fmla="*/ 504825 h 657225"/>
                <a:gd name="connsiteX26" fmla="*/ 566738 w 1266825"/>
                <a:gd name="connsiteY26" fmla="*/ 528638 h 657225"/>
                <a:gd name="connsiteX27" fmla="*/ 609600 w 1266825"/>
                <a:gd name="connsiteY27" fmla="*/ 566738 h 657225"/>
                <a:gd name="connsiteX28" fmla="*/ 623888 w 1266825"/>
                <a:gd name="connsiteY28" fmla="*/ 576263 h 657225"/>
                <a:gd name="connsiteX29" fmla="*/ 742950 w 1266825"/>
                <a:gd name="connsiteY29" fmla="*/ 633413 h 657225"/>
                <a:gd name="connsiteX30" fmla="*/ 781050 w 1266825"/>
                <a:gd name="connsiteY30" fmla="*/ 647700 h 657225"/>
                <a:gd name="connsiteX31" fmla="*/ 819150 w 1266825"/>
                <a:gd name="connsiteY31" fmla="*/ 657225 h 657225"/>
                <a:gd name="connsiteX32" fmla="*/ 923925 w 1266825"/>
                <a:gd name="connsiteY32" fmla="*/ 642938 h 657225"/>
                <a:gd name="connsiteX33" fmla="*/ 938213 w 1266825"/>
                <a:gd name="connsiteY33" fmla="*/ 633413 h 657225"/>
                <a:gd name="connsiteX34" fmla="*/ 957263 w 1266825"/>
                <a:gd name="connsiteY34" fmla="*/ 619125 h 657225"/>
                <a:gd name="connsiteX35" fmla="*/ 985838 w 1266825"/>
                <a:gd name="connsiteY35" fmla="*/ 609600 h 657225"/>
                <a:gd name="connsiteX36" fmla="*/ 1004888 w 1266825"/>
                <a:gd name="connsiteY36" fmla="*/ 600075 h 657225"/>
                <a:gd name="connsiteX37" fmla="*/ 1023938 w 1266825"/>
                <a:gd name="connsiteY37" fmla="*/ 595313 h 657225"/>
                <a:gd name="connsiteX38" fmla="*/ 1085850 w 1266825"/>
                <a:gd name="connsiteY38" fmla="*/ 581025 h 657225"/>
                <a:gd name="connsiteX39" fmla="*/ 1238250 w 1266825"/>
                <a:gd name="connsiteY39" fmla="*/ 590550 h 657225"/>
                <a:gd name="connsiteX40" fmla="*/ 1243013 w 1266825"/>
                <a:gd name="connsiteY40" fmla="*/ 628650 h 657225"/>
                <a:gd name="connsiteX41" fmla="*/ 1266825 w 1266825"/>
                <a:gd name="connsiteY41" fmla="*/ 642938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266825" h="657225">
                  <a:moveTo>
                    <a:pt x="0" y="0"/>
                  </a:moveTo>
                  <a:cubicBezTo>
                    <a:pt x="7938" y="6350"/>
                    <a:pt x="16163" y="12356"/>
                    <a:pt x="23813" y="19050"/>
                  </a:cubicBezTo>
                  <a:cubicBezTo>
                    <a:pt x="53151" y="44721"/>
                    <a:pt x="23144" y="23368"/>
                    <a:pt x="52388" y="42863"/>
                  </a:cubicBezTo>
                  <a:cubicBezTo>
                    <a:pt x="61913" y="61913"/>
                    <a:pt x="67658" y="83382"/>
                    <a:pt x="80963" y="100013"/>
                  </a:cubicBezTo>
                  <a:cubicBezTo>
                    <a:pt x="87313" y="107950"/>
                    <a:pt x="92825" y="116637"/>
                    <a:pt x="100013" y="123825"/>
                  </a:cubicBezTo>
                  <a:cubicBezTo>
                    <a:pt x="104060" y="127872"/>
                    <a:pt x="110432" y="129131"/>
                    <a:pt x="114300" y="133350"/>
                  </a:cubicBezTo>
                  <a:cubicBezTo>
                    <a:pt x="128037" y="148336"/>
                    <a:pt x="135484" y="169698"/>
                    <a:pt x="152400" y="180975"/>
                  </a:cubicBezTo>
                  <a:cubicBezTo>
                    <a:pt x="185199" y="202840"/>
                    <a:pt x="145322" y="174907"/>
                    <a:pt x="185738" y="209550"/>
                  </a:cubicBezTo>
                  <a:cubicBezTo>
                    <a:pt x="190084" y="213275"/>
                    <a:pt x="195978" y="215028"/>
                    <a:pt x="200025" y="219075"/>
                  </a:cubicBezTo>
                  <a:cubicBezTo>
                    <a:pt x="207213" y="226263"/>
                    <a:pt x="211887" y="235700"/>
                    <a:pt x="219075" y="242888"/>
                  </a:cubicBezTo>
                  <a:cubicBezTo>
                    <a:pt x="224688" y="248501"/>
                    <a:pt x="232098" y="252009"/>
                    <a:pt x="238125" y="257175"/>
                  </a:cubicBezTo>
                  <a:cubicBezTo>
                    <a:pt x="243239" y="261558"/>
                    <a:pt x="247650" y="266700"/>
                    <a:pt x="252413" y="271463"/>
                  </a:cubicBezTo>
                  <a:cubicBezTo>
                    <a:pt x="261684" y="299277"/>
                    <a:pt x="249921" y="273733"/>
                    <a:pt x="271463" y="295275"/>
                  </a:cubicBezTo>
                  <a:cubicBezTo>
                    <a:pt x="277076" y="300888"/>
                    <a:pt x="280523" y="308351"/>
                    <a:pt x="285750" y="314325"/>
                  </a:cubicBezTo>
                  <a:cubicBezTo>
                    <a:pt x="291663" y="321083"/>
                    <a:pt x="298956" y="326557"/>
                    <a:pt x="304800" y="333375"/>
                  </a:cubicBezTo>
                  <a:cubicBezTo>
                    <a:pt x="308525" y="337721"/>
                    <a:pt x="310278" y="343616"/>
                    <a:pt x="314325" y="347663"/>
                  </a:cubicBezTo>
                  <a:cubicBezTo>
                    <a:pt x="324441" y="357779"/>
                    <a:pt x="330505" y="357302"/>
                    <a:pt x="342900" y="361950"/>
                  </a:cubicBezTo>
                  <a:cubicBezTo>
                    <a:pt x="350905" y="364952"/>
                    <a:pt x="359066" y="367652"/>
                    <a:pt x="366713" y="371475"/>
                  </a:cubicBezTo>
                  <a:cubicBezTo>
                    <a:pt x="392106" y="384172"/>
                    <a:pt x="369432" y="379391"/>
                    <a:pt x="400050" y="390525"/>
                  </a:cubicBezTo>
                  <a:cubicBezTo>
                    <a:pt x="410912" y="394475"/>
                    <a:pt x="422275" y="396875"/>
                    <a:pt x="433388" y="400050"/>
                  </a:cubicBezTo>
                  <a:cubicBezTo>
                    <a:pt x="439738" y="404813"/>
                    <a:pt x="445707" y="410131"/>
                    <a:pt x="452438" y="414338"/>
                  </a:cubicBezTo>
                  <a:cubicBezTo>
                    <a:pt x="458458" y="418101"/>
                    <a:pt x="466098" y="419243"/>
                    <a:pt x="471488" y="423863"/>
                  </a:cubicBezTo>
                  <a:cubicBezTo>
                    <a:pt x="477514" y="429029"/>
                    <a:pt x="480436" y="437040"/>
                    <a:pt x="485775" y="442913"/>
                  </a:cubicBezTo>
                  <a:cubicBezTo>
                    <a:pt x="496346" y="454541"/>
                    <a:pt x="508000" y="465137"/>
                    <a:pt x="519113" y="476250"/>
                  </a:cubicBezTo>
                  <a:lnTo>
                    <a:pt x="533400" y="490538"/>
                  </a:lnTo>
                  <a:cubicBezTo>
                    <a:pt x="538163" y="495301"/>
                    <a:pt x="543481" y="499566"/>
                    <a:pt x="547688" y="504825"/>
                  </a:cubicBezTo>
                  <a:cubicBezTo>
                    <a:pt x="554038" y="512763"/>
                    <a:pt x="559938" y="521082"/>
                    <a:pt x="566738" y="528638"/>
                  </a:cubicBezTo>
                  <a:cubicBezTo>
                    <a:pt x="584353" y="548211"/>
                    <a:pt x="589921" y="552681"/>
                    <a:pt x="609600" y="566738"/>
                  </a:cubicBezTo>
                  <a:cubicBezTo>
                    <a:pt x="614258" y="570065"/>
                    <a:pt x="618863" y="573522"/>
                    <a:pt x="623888" y="576263"/>
                  </a:cubicBezTo>
                  <a:cubicBezTo>
                    <a:pt x="739298" y="639214"/>
                    <a:pt x="677315" y="609972"/>
                    <a:pt x="742950" y="633413"/>
                  </a:cubicBezTo>
                  <a:cubicBezTo>
                    <a:pt x="755723" y="637975"/>
                    <a:pt x="768104" y="643654"/>
                    <a:pt x="781050" y="647700"/>
                  </a:cubicBezTo>
                  <a:cubicBezTo>
                    <a:pt x="793545" y="651605"/>
                    <a:pt x="819150" y="657225"/>
                    <a:pt x="819150" y="657225"/>
                  </a:cubicBezTo>
                  <a:cubicBezTo>
                    <a:pt x="870199" y="640211"/>
                    <a:pt x="780189" y="669072"/>
                    <a:pt x="923925" y="642938"/>
                  </a:cubicBezTo>
                  <a:cubicBezTo>
                    <a:pt x="929557" y="641914"/>
                    <a:pt x="933555" y="636740"/>
                    <a:pt x="938213" y="633413"/>
                  </a:cubicBezTo>
                  <a:cubicBezTo>
                    <a:pt x="944672" y="628799"/>
                    <a:pt x="950163" y="622675"/>
                    <a:pt x="957263" y="619125"/>
                  </a:cubicBezTo>
                  <a:cubicBezTo>
                    <a:pt x="966243" y="614635"/>
                    <a:pt x="976858" y="614090"/>
                    <a:pt x="985838" y="609600"/>
                  </a:cubicBezTo>
                  <a:cubicBezTo>
                    <a:pt x="992188" y="606425"/>
                    <a:pt x="998240" y="602568"/>
                    <a:pt x="1004888" y="600075"/>
                  </a:cubicBezTo>
                  <a:cubicBezTo>
                    <a:pt x="1011017" y="597777"/>
                    <a:pt x="1017644" y="597111"/>
                    <a:pt x="1023938" y="595313"/>
                  </a:cubicBezTo>
                  <a:cubicBezTo>
                    <a:pt x="1070067" y="582133"/>
                    <a:pt x="980144" y="602166"/>
                    <a:pt x="1085850" y="581025"/>
                  </a:cubicBezTo>
                  <a:cubicBezTo>
                    <a:pt x="1136650" y="584200"/>
                    <a:pt x="1189538" y="575789"/>
                    <a:pt x="1238250" y="590550"/>
                  </a:cubicBezTo>
                  <a:cubicBezTo>
                    <a:pt x="1250499" y="594262"/>
                    <a:pt x="1237717" y="616998"/>
                    <a:pt x="1243013" y="628650"/>
                  </a:cubicBezTo>
                  <a:cubicBezTo>
                    <a:pt x="1249941" y="643890"/>
                    <a:pt x="1256804" y="642938"/>
                    <a:pt x="1266825" y="642938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10F3B9D-773A-8029-9427-46D2E929CE24}"/>
                </a:ext>
              </a:extLst>
            </p:cNvPr>
            <p:cNvSpPr/>
            <p:nvPr/>
          </p:nvSpPr>
          <p:spPr bwMode="gray">
            <a:xfrm>
              <a:off x="9664354" y="4519856"/>
              <a:ext cx="320583" cy="324109"/>
            </a:xfrm>
            <a:custGeom>
              <a:avLst/>
              <a:gdLst>
                <a:gd name="connsiteX0" fmla="*/ 0 w 423961"/>
                <a:gd name="connsiteY0" fmla="*/ 428625 h 428625"/>
                <a:gd name="connsiteX1" fmla="*/ 33337 w 423961"/>
                <a:gd name="connsiteY1" fmla="*/ 304800 h 428625"/>
                <a:gd name="connsiteX2" fmla="*/ 42862 w 423961"/>
                <a:gd name="connsiteY2" fmla="*/ 290513 h 428625"/>
                <a:gd name="connsiteX3" fmla="*/ 52387 w 423961"/>
                <a:gd name="connsiteY3" fmla="*/ 271463 h 428625"/>
                <a:gd name="connsiteX4" fmla="*/ 66675 w 423961"/>
                <a:gd name="connsiteY4" fmla="*/ 261938 h 428625"/>
                <a:gd name="connsiteX5" fmla="*/ 104775 w 423961"/>
                <a:gd name="connsiteY5" fmla="*/ 233363 h 428625"/>
                <a:gd name="connsiteX6" fmla="*/ 157162 w 423961"/>
                <a:gd name="connsiteY6" fmla="*/ 195263 h 428625"/>
                <a:gd name="connsiteX7" fmla="*/ 176212 w 423961"/>
                <a:gd name="connsiteY7" fmla="*/ 190500 h 428625"/>
                <a:gd name="connsiteX8" fmla="*/ 195262 w 423961"/>
                <a:gd name="connsiteY8" fmla="*/ 176213 h 428625"/>
                <a:gd name="connsiteX9" fmla="*/ 209550 w 423961"/>
                <a:gd name="connsiteY9" fmla="*/ 171450 h 428625"/>
                <a:gd name="connsiteX10" fmla="*/ 223837 w 423961"/>
                <a:gd name="connsiteY10" fmla="*/ 157163 h 428625"/>
                <a:gd name="connsiteX11" fmla="*/ 247650 w 423961"/>
                <a:gd name="connsiteY11" fmla="*/ 142875 h 428625"/>
                <a:gd name="connsiteX12" fmla="*/ 280987 w 423961"/>
                <a:gd name="connsiteY12" fmla="*/ 104775 h 428625"/>
                <a:gd name="connsiteX13" fmla="*/ 290512 w 423961"/>
                <a:gd name="connsiteY13" fmla="*/ 90488 h 428625"/>
                <a:gd name="connsiteX14" fmla="*/ 333375 w 423961"/>
                <a:gd name="connsiteY14" fmla="*/ 57150 h 428625"/>
                <a:gd name="connsiteX15" fmla="*/ 361950 w 423961"/>
                <a:gd name="connsiteY15" fmla="*/ 38100 h 428625"/>
                <a:gd name="connsiteX16" fmla="*/ 414337 w 423961"/>
                <a:gd name="connsiteY16" fmla="*/ 23813 h 428625"/>
                <a:gd name="connsiteX17" fmla="*/ 423862 w 423961"/>
                <a:gd name="connsiteY17" fmla="*/ 0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3961" h="428625">
                  <a:moveTo>
                    <a:pt x="0" y="428625"/>
                  </a:moveTo>
                  <a:cubicBezTo>
                    <a:pt x="12880" y="359929"/>
                    <a:pt x="7705" y="360336"/>
                    <a:pt x="33337" y="304800"/>
                  </a:cubicBezTo>
                  <a:cubicBezTo>
                    <a:pt x="35736" y="299603"/>
                    <a:pt x="40022" y="295483"/>
                    <a:pt x="42862" y="290513"/>
                  </a:cubicBezTo>
                  <a:cubicBezTo>
                    <a:pt x="46384" y="284349"/>
                    <a:pt x="47842" y="276917"/>
                    <a:pt x="52387" y="271463"/>
                  </a:cubicBezTo>
                  <a:cubicBezTo>
                    <a:pt x="56051" y="267066"/>
                    <a:pt x="62046" y="265305"/>
                    <a:pt x="66675" y="261938"/>
                  </a:cubicBezTo>
                  <a:cubicBezTo>
                    <a:pt x="79514" y="252601"/>
                    <a:pt x="92192" y="243042"/>
                    <a:pt x="104775" y="233363"/>
                  </a:cubicBezTo>
                  <a:cubicBezTo>
                    <a:pt x="120915" y="220947"/>
                    <a:pt x="138836" y="204426"/>
                    <a:pt x="157162" y="195263"/>
                  </a:cubicBezTo>
                  <a:cubicBezTo>
                    <a:pt x="163016" y="192336"/>
                    <a:pt x="169862" y="192088"/>
                    <a:pt x="176212" y="190500"/>
                  </a:cubicBezTo>
                  <a:cubicBezTo>
                    <a:pt x="182562" y="185738"/>
                    <a:pt x="188370" y="180151"/>
                    <a:pt x="195262" y="176213"/>
                  </a:cubicBezTo>
                  <a:cubicBezTo>
                    <a:pt x="199621" y="173722"/>
                    <a:pt x="205373" y="174235"/>
                    <a:pt x="209550" y="171450"/>
                  </a:cubicBezTo>
                  <a:cubicBezTo>
                    <a:pt x="215154" y="167714"/>
                    <a:pt x="218449" y="161204"/>
                    <a:pt x="223837" y="157163"/>
                  </a:cubicBezTo>
                  <a:cubicBezTo>
                    <a:pt x="231242" y="151609"/>
                    <a:pt x="240245" y="148429"/>
                    <a:pt x="247650" y="142875"/>
                  </a:cubicBezTo>
                  <a:cubicBezTo>
                    <a:pt x="257721" y="135322"/>
                    <a:pt x="274942" y="112835"/>
                    <a:pt x="280987" y="104775"/>
                  </a:cubicBezTo>
                  <a:cubicBezTo>
                    <a:pt x="284421" y="100196"/>
                    <a:pt x="286277" y="94338"/>
                    <a:pt x="290512" y="90488"/>
                  </a:cubicBezTo>
                  <a:cubicBezTo>
                    <a:pt x="303905" y="78312"/>
                    <a:pt x="318314" y="67190"/>
                    <a:pt x="333375" y="57150"/>
                  </a:cubicBezTo>
                  <a:cubicBezTo>
                    <a:pt x="342900" y="50800"/>
                    <a:pt x="350844" y="40876"/>
                    <a:pt x="361950" y="38100"/>
                  </a:cubicBezTo>
                  <a:cubicBezTo>
                    <a:pt x="404920" y="27357"/>
                    <a:pt x="387631" y="32714"/>
                    <a:pt x="414337" y="23813"/>
                  </a:cubicBezTo>
                  <a:cubicBezTo>
                    <a:pt x="425623" y="6883"/>
                    <a:pt x="423862" y="15249"/>
                    <a:pt x="423862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B0CA560C-8DCA-CB0A-F391-B402F25BEF60}"/>
                </a:ext>
              </a:extLst>
            </p:cNvPr>
            <p:cNvSpPr/>
            <p:nvPr/>
          </p:nvSpPr>
          <p:spPr bwMode="gray">
            <a:xfrm>
              <a:off x="10935583" y="5200486"/>
              <a:ext cx="756255" cy="252085"/>
            </a:xfrm>
            <a:custGeom>
              <a:avLst/>
              <a:gdLst>
                <a:gd name="connsiteX0" fmla="*/ 0 w 1000125"/>
                <a:gd name="connsiteY0" fmla="*/ 0 h 333375"/>
                <a:gd name="connsiteX1" fmla="*/ 38100 w 1000125"/>
                <a:gd name="connsiteY1" fmla="*/ 28575 h 333375"/>
                <a:gd name="connsiteX2" fmla="*/ 57150 w 1000125"/>
                <a:gd name="connsiteY2" fmla="*/ 33337 h 333375"/>
                <a:gd name="connsiteX3" fmla="*/ 133350 w 1000125"/>
                <a:gd name="connsiteY3" fmla="*/ 28575 h 333375"/>
                <a:gd name="connsiteX4" fmla="*/ 157163 w 1000125"/>
                <a:gd name="connsiteY4" fmla="*/ 23812 h 333375"/>
                <a:gd name="connsiteX5" fmla="*/ 223838 w 1000125"/>
                <a:gd name="connsiteY5" fmla="*/ 33337 h 333375"/>
                <a:gd name="connsiteX6" fmla="*/ 242888 w 1000125"/>
                <a:gd name="connsiteY6" fmla="*/ 42862 h 333375"/>
                <a:gd name="connsiteX7" fmla="*/ 266700 w 1000125"/>
                <a:gd name="connsiteY7" fmla="*/ 47625 h 333375"/>
                <a:gd name="connsiteX8" fmla="*/ 290513 w 1000125"/>
                <a:gd name="connsiteY8" fmla="*/ 61912 h 333375"/>
                <a:gd name="connsiteX9" fmla="*/ 304800 w 1000125"/>
                <a:gd name="connsiteY9" fmla="*/ 76200 h 333375"/>
                <a:gd name="connsiteX10" fmla="*/ 333375 w 1000125"/>
                <a:gd name="connsiteY10" fmla="*/ 85725 h 333375"/>
                <a:gd name="connsiteX11" fmla="*/ 347663 w 1000125"/>
                <a:gd name="connsiteY11" fmla="*/ 90487 h 333375"/>
                <a:gd name="connsiteX12" fmla="*/ 361950 w 1000125"/>
                <a:gd name="connsiteY12" fmla="*/ 100012 h 333375"/>
                <a:gd name="connsiteX13" fmla="*/ 385763 w 1000125"/>
                <a:gd name="connsiteY13" fmla="*/ 138112 h 333375"/>
                <a:gd name="connsiteX14" fmla="*/ 404813 w 1000125"/>
                <a:gd name="connsiteY14" fmla="*/ 157162 h 333375"/>
                <a:gd name="connsiteX15" fmla="*/ 433388 w 1000125"/>
                <a:gd name="connsiteY15" fmla="*/ 161925 h 333375"/>
                <a:gd name="connsiteX16" fmla="*/ 504825 w 1000125"/>
                <a:gd name="connsiteY16" fmla="*/ 157162 h 333375"/>
                <a:gd name="connsiteX17" fmla="*/ 538163 w 1000125"/>
                <a:gd name="connsiteY17" fmla="*/ 152400 h 333375"/>
                <a:gd name="connsiteX18" fmla="*/ 633413 w 1000125"/>
                <a:gd name="connsiteY18" fmla="*/ 157162 h 333375"/>
                <a:gd name="connsiteX19" fmla="*/ 657225 w 1000125"/>
                <a:gd name="connsiteY19" fmla="*/ 166687 h 333375"/>
                <a:gd name="connsiteX20" fmla="*/ 671513 w 1000125"/>
                <a:gd name="connsiteY20" fmla="*/ 171450 h 333375"/>
                <a:gd name="connsiteX21" fmla="*/ 709613 w 1000125"/>
                <a:gd name="connsiteY21" fmla="*/ 200025 h 333375"/>
                <a:gd name="connsiteX22" fmla="*/ 733425 w 1000125"/>
                <a:gd name="connsiteY22" fmla="*/ 209550 h 333375"/>
                <a:gd name="connsiteX23" fmla="*/ 762000 w 1000125"/>
                <a:gd name="connsiteY23" fmla="*/ 219075 h 333375"/>
                <a:gd name="connsiteX24" fmla="*/ 838200 w 1000125"/>
                <a:gd name="connsiteY24" fmla="*/ 233362 h 333375"/>
                <a:gd name="connsiteX25" fmla="*/ 885825 w 1000125"/>
                <a:gd name="connsiteY25" fmla="*/ 242887 h 333375"/>
                <a:gd name="connsiteX26" fmla="*/ 904875 w 1000125"/>
                <a:gd name="connsiteY26" fmla="*/ 257175 h 333375"/>
                <a:gd name="connsiteX27" fmla="*/ 919163 w 1000125"/>
                <a:gd name="connsiteY27" fmla="*/ 266700 h 333375"/>
                <a:gd name="connsiteX28" fmla="*/ 957263 w 1000125"/>
                <a:gd name="connsiteY28" fmla="*/ 295275 h 333375"/>
                <a:gd name="connsiteX29" fmla="*/ 971550 w 1000125"/>
                <a:gd name="connsiteY29" fmla="*/ 314325 h 333375"/>
                <a:gd name="connsiteX30" fmla="*/ 1000125 w 1000125"/>
                <a:gd name="connsiteY30" fmla="*/ 333375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00125" h="333375">
                  <a:moveTo>
                    <a:pt x="0" y="0"/>
                  </a:moveTo>
                  <a:cubicBezTo>
                    <a:pt x="2385" y="1908"/>
                    <a:pt x="29937" y="25077"/>
                    <a:pt x="38100" y="28575"/>
                  </a:cubicBezTo>
                  <a:cubicBezTo>
                    <a:pt x="44116" y="31153"/>
                    <a:pt x="50800" y="31750"/>
                    <a:pt x="57150" y="33337"/>
                  </a:cubicBezTo>
                  <a:cubicBezTo>
                    <a:pt x="82550" y="31750"/>
                    <a:pt x="108015" y="30988"/>
                    <a:pt x="133350" y="28575"/>
                  </a:cubicBezTo>
                  <a:cubicBezTo>
                    <a:pt x="141408" y="27808"/>
                    <a:pt x="149079" y="23387"/>
                    <a:pt x="157163" y="23812"/>
                  </a:cubicBezTo>
                  <a:cubicBezTo>
                    <a:pt x="179583" y="24992"/>
                    <a:pt x="201613" y="30162"/>
                    <a:pt x="223838" y="33337"/>
                  </a:cubicBezTo>
                  <a:cubicBezTo>
                    <a:pt x="230188" y="36512"/>
                    <a:pt x="236153" y="40617"/>
                    <a:pt x="242888" y="42862"/>
                  </a:cubicBezTo>
                  <a:cubicBezTo>
                    <a:pt x="250567" y="45422"/>
                    <a:pt x="259184" y="44619"/>
                    <a:pt x="266700" y="47625"/>
                  </a:cubicBezTo>
                  <a:cubicBezTo>
                    <a:pt x="275295" y="51063"/>
                    <a:pt x="283108" y="56358"/>
                    <a:pt x="290513" y="61912"/>
                  </a:cubicBezTo>
                  <a:cubicBezTo>
                    <a:pt x="295901" y="65953"/>
                    <a:pt x="298912" y="72929"/>
                    <a:pt x="304800" y="76200"/>
                  </a:cubicBezTo>
                  <a:cubicBezTo>
                    <a:pt x="313577" y="81076"/>
                    <a:pt x="323850" y="82550"/>
                    <a:pt x="333375" y="85725"/>
                  </a:cubicBezTo>
                  <a:lnTo>
                    <a:pt x="347663" y="90487"/>
                  </a:lnTo>
                  <a:cubicBezTo>
                    <a:pt x="352425" y="93662"/>
                    <a:pt x="358225" y="95666"/>
                    <a:pt x="361950" y="100012"/>
                  </a:cubicBezTo>
                  <a:cubicBezTo>
                    <a:pt x="371697" y="111383"/>
                    <a:pt x="376016" y="126741"/>
                    <a:pt x="385763" y="138112"/>
                  </a:cubicBezTo>
                  <a:cubicBezTo>
                    <a:pt x="391607" y="144930"/>
                    <a:pt x="396781" y="153146"/>
                    <a:pt x="404813" y="157162"/>
                  </a:cubicBezTo>
                  <a:cubicBezTo>
                    <a:pt x="413450" y="161481"/>
                    <a:pt x="423863" y="160337"/>
                    <a:pt x="433388" y="161925"/>
                  </a:cubicBezTo>
                  <a:cubicBezTo>
                    <a:pt x="457200" y="160337"/>
                    <a:pt x="481058" y="159323"/>
                    <a:pt x="504825" y="157162"/>
                  </a:cubicBezTo>
                  <a:cubicBezTo>
                    <a:pt x="516004" y="156146"/>
                    <a:pt x="526938" y="152400"/>
                    <a:pt x="538163" y="152400"/>
                  </a:cubicBezTo>
                  <a:cubicBezTo>
                    <a:pt x="569953" y="152400"/>
                    <a:pt x="601663" y="155575"/>
                    <a:pt x="633413" y="157162"/>
                  </a:cubicBezTo>
                  <a:cubicBezTo>
                    <a:pt x="641350" y="160337"/>
                    <a:pt x="649221" y="163685"/>
                    <a:pt x="657225" y="166687"/>
                  </a:cubicBezTo>
                  <a:cubicBezTo>
                    <a:pt x="661926" y="168450"/>
                    <a:pt x="667023" y="169205"/>
                    <a:pt x="671513" y="171450"/>
                  </a:cubicBezTo>
                  <a:cubicBezTo>
                    <a:pt x="688195" y="179791"/>
                    <a:pt x="692098" y="189516"/>
                    <a:pt x="709613" y="200025"/>
                  </a:cubicBezTo>
                  <a:cubicBezTo>
                    <a:pt x="716944" y="204423"/>
                    <a:pt x="725391" y="206628"/>
                    <a:pt x="733425" y="209550"/>
                  </a:cubicBezTo>
                  <a:cubicBezTo>
                    <a:pt x="742861" y="212981"/>
                    <a:pt x="752132" y="217225"/>
                    <a:pt x="762000" y="219075"/>
                  </a:cubicBezTo>
                  <a:cubicBezTo>
                    <a:pt x="787400" y="223837"/>
                    <a:pt x="812709" y="229113"/>
                    <a:pt x="838200" y="233362"/>
                  </a:cubicBezTo>
                  <a:cubicBezTo>
                    <a:pt x="873231" y="239201"/>
                    <a:pt x="857407" y="235783"/>
                    <a:pt x="885825" y="242887"/>
                  </a:cubicBezTo>
                  <a:cubicBezTo>
                    <a:pt x="892175" y="247650"/>
                    <a:pt x="898416" y="252561"/>
                    <a:pt x="904875" y="257175"/>
                  </a:cubicBezTo>
                  <a:cubicBezTo>
                    <a:pt x="909533" y="260502"/>
                    <a:pt x="914534" y="263333"/>
                    <a:pt x="919163" y="266700"/>
                  </a:cubicBezTo>
                  <a:cubicBezTo>
                    <a:pt x="932002" y="276037"/>
                    <a:pt x="947738" y="282575"/>
                    <a:pt x="957263" y="295275"/>
                  </a:cubicBezTo>
                  <a:cubicBezTo>
                    <a:pt x="962025" y="301625"/>
                    <a:pt x="965937" y="308712"/>
                    <a:pt x="971550" y="314325"/>
                  </a:cubicBezTo>
                  <a:cubicBezTo>
                    <a:pt x="982493" y="325268"/>
                    <a:pt x="988397" y="327510"/>
                    <a:pt x="1000125" y="33337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8048682-CCB3-CCC1-7339-8413C4CF3F94}"/>
                </a:ext>
              </a:extLst>
            </p:cNvPr>
            <p:cNvSpPr/>
            <p:nvPr/>
          </p:nvSpPr>
          <p:spPr bwMode="gray">
            <a:xfrm>
              <a:off x="11799875" y="4941199"/>
              <a:ext cx="228985" cy="313305"/>
            </a:xfrm>
            <a:custGeom>
              <a:avLst/>
              <a:gdLst>
                <a:gd name="connsiteX0" fmla="*/ 0 w 302826"/>
                <a:gd name="connsiteY0" fmla="*/ 0 h 414337"/>
                <a:gd name="connsiteX1" fmla="*/ 71438 w 302826"/>
                <a:gd name="connsiteY1" fmla="*/ 47625 h 414337"/>
                <a:gd name="connsiteX2" fmla="*/ 109538 w 302826"/>
                <a:gd name="connsiteY2" fmla="*/ 57150 h 414337"/>
                <a:gd name="connsiteX3" fmla="*/ 123825 w 302826"/>
                <a:gd name="connsiteY3" fmla="*/ 71437 h 414337"/>
                <a:gd name="connsiteX4" fmla="*/ 147638 w 302826"/>
                <a:gd name="connsiteY4" fmla="*/ 76200 h 414337"/>
                <a:gd name="connsiteX5" fmla="*/ 166688 w 302826"/>
                <a:gd name="connsiteY5" fmla="*/ 80962 h 414337"/>
                <a:gd name="connsiteX6" fmla="*/ 252413 w 302826"/>
                <a:gd name="connsiteY6" fmla="*/ 95250 h 414337"/>
                <a:gd name="connsiteX7" fmla="*/ 261938 w 302826"/>
                <a:gd name="connsiteY7" fmla="*/ 114300 h 414337"/>
                <a:gd name="connsiteX8" fmla="*/ 266700 w 302826"/>
                <a:gd name="connsiteY8" fmla="*/ 128587 h 414337"/>
                <a:gd name="connsiteX9" fmla="*/ 280988 w 302826"/>
                <a:gd name="connsiteY9" fmla="*/ 147637 h 414337"/>
                <a:gd name="connsiteX10" fmla="*/ 290513 w 302826"/>
                <a:gd name="connsiteY10" fmla="*/ 180975 h 414337"/>
                <a:gd name="connsiteX11" fmla="*/ 295275 w 302826"/>
                <a:gd name="connsiteY11" fmla="*/ 195262 h 414337"/>
                <a:gd name="connsiteX12" fmla="*/ 300038 w 302826"/>
                <a:gd name="connsiteY12" fmla="*/ 414337 h 41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26" h="414337">
                  <a:moveTo>
                    <a:pt x="0" y="0"/>
                  </a:moveTo>
                  <a:cubicBezTo>
                    <a:pt x="14833" y="10595"/>
                    <a:pt x="55417" y="40616"/>
                    <a:pt x="71438" y="47625"/>
                  </a:cubicBezTo>
                  <a:cubicBezTo>
                    <a:pt x="83431" y="52872"/>
                    <a:pt x="109538" y="57150"/>
                    <a:pt x="109538" y="57150"/>
                  </a:cubicBezTo>
                  <a:cubicBezTo>
                    <a:pt x="114300" y="61912"/>
                    <a:pt x="117801" y="68425"/>
                    <a:pt x="123825" y="71437"/>
                  </a:cubicBezTo>
                  <a:cubicBezTo>
                    <a:pt x="131065" y="75057"/>
                    <a:pt x="139736" y="74444"/>
                    <a:pt x="147638" y="76200"/>
                  </a:cubicBezTo>
                  <a:cubicBezTo>
                    <a:pt x="154028" y="77620"/>
                    <a:pt x="160248" y="79791"/>
                    <a:pt x="166688" y="80962"/>
                  </a:cubicBezTo>
                  <a:cubicBezTo>
                    <a:pt x="195190" y="86144"/>
                    <a:pt x="223838" y="90487"/>
                    <a:pt x="252413" y="95250"/>
                  </a:cubicBezTo>
                  <a:cubicBezTo>
                    <a:pt x="255588" y="101600"/>
                    <a:pt x="259141" y="107774"/>
                    <a:pt x="261938" y="114300"/>
                  </a:cubicBezTo>
                  <a:cubicBezTo>
                    <a:pt x="263915" y="118914"/>
                    <a:pt x="264209" y="124229"/>
                    <a:pt x="266700" y="128587"/>
                  </a:cubicBezTo>
                  <a:cubicBezTo>
                    <a:pt x="270638" y="135479"/>
                    <a:pt x="276225" y="141287"/>
                    <a:pt x="280988" y="147637"/>
                  </a:cubicBezTo>
                  <a:cubicBezTo>
                    <a:pt x="292408" y="181901"/>
                    <a:pt x="278550" y="139106"/>
                    <a:pt x="290513" y="180975"/>
                  </a:cubicBezTo>
                  <a:cubicBezTo>
                    <a:pt x="291892" y="185802"/>
                    <a:pt x="293688" y="190500"/>
                    <a:pt x="295275" y="195262"/>
                  </a:cubicBezTo>
                  <a:cubicBezTo>
                    <a:pt x="308794" y="289890"/>
                    <a:pt x="300038" y="217374"/>
                    <a:pt x="300038" y="41433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F43972FC-1C09-FD7B-C29D-61ADDE533A19}"/>
                </a:ext>
              </a:extLst>
            </p:cNvPr>
            <p:cNvSpPr/>
            <p:nvPr/>
          </p:nvSpPr>
          <p:spPr bwMode="gray">
            <a:xfrm>
              <a:off x="11569397" y="4779143"/>
              <a:ext cx="295300" cy="90402"/>
            </a:xfrm>
            <a:custGeom>
              <a:avLst/>
              <a:gdLst>
                <a:gd name="connsiteX0" fmla="*/ 0 w 390525"/>
                <a:gd name="connsiteY0" fmla="*/ 0 h 119554"/>
                <a:gd name="connsiteX1" fmla="*/ 23813 w 390525"/>
                <a:gd name="connsiteY1" fmla="*/ 19050 h 119554"/>
                <a:gd name="connsiteX2" fmla="*/ 33338 w 390525"/>
                <a:gd name="connsiteY2" fmla="*/ 33338 h 119554"/>
                <a:gd name="connsiteX3" fmla="*/ 61913 w 390525"/>
                <a:gd name="connsiteY3" fmla="*/ 47625 h 119554"/>
                <a:gd name="connsiteX4" fmla="*/ 147638 w 390525"/>
                <a:gd name="connsiteY4" fmla="*/ 47625 h 119554"/>
                <a:gd name="connsiteX5" fmla="*/ 157163 w 390525"/>
                <a:gd name="connsiteY5" fmla="*/ 66675 h 119554"/>
                <a:gd name="connsiteX6" fmla="*/ 209550 w 390525"/>
                <a:gd name="connsiteY6" fmla="*/ 104775 h 119554"/>
                <a:gd name="connsiteX7" fmla="*/ 219075 w 390525"/>
                <a:gd name="connsiteY7" fmla="*/ 119063 h 119554"/>
                <a:gd name="connsiteX8" fmla="*/ 233363 w 390525"/>
                <a:gd name="connsiteY8" fmla="*/ 114300 h 119554"/>
                <a:gd name="connsiteX9" fmla="*/ 247650 w 390525"/>
                <a:gd name="connsiteY9" fmla="*/ 100013 h 119554"/>
                <a:gd name="connsiteX10" fmla="*/ 261938 w 390525"/>
                <a:gd name="connsiteY10" fmla="*/ 90488 h 119554"/>
                <a:gd name="connsiteX11" fmla="*/ 309563 w 390525"/>
                <a:gd name="connsiteY11" fmla="*/ 95250 h 119554"/>
                <a:gd name="connsiteX12" fmla="*/ 352425 w 390525"/>
                <a:gd name="connsiteY12" fmla="*/ 100013 h 119554"/>
                <a:gd name="connsiteX13" fmla="*/ 385763 w 390525"/>
                <a:gd name="connsiteY13" fmla="*/ 90488 h 119554"/>
                <a:gd name="connsiteX14" fmla="*/ 390525 w 390525"/>
                <a:gd name="connsiteY14" fmla="*/ 90488 h 11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119554">
                  <a:moveTo>
                    <a:pt x="0" y="0"/>
                  </a:moveTo>
                  <a:cubicBezTo>
                    <a:pt x="7938" y="6350"/>
                    <a:pt x="16625" y="11862"/>
                    <a:pt x="23813" y="19050"/>
                  </a:cubicBezTo>
                  <a:cubicBezTo>
                    <a:pt x="27860" y="23097"/>
                    <a:pt x="28759" y="29904"/>
                    <a:pt x="33338" y="33338"/>
                  </a:cubicBezTo>
                  <a:cubicBezTo>
                    <a:pt x="41857" y="39728"/>
                    <a:pt x="52388" y="42863"/>
                    <a:pt x="61913" y="47625"/>
                  </a:cubicBezTo>
                  <a:cubicBezTo>
                    <a:pt x="92863" y="41435"/>
                    <a:pt x="111302" y="35513"/>
                    <a:pt x="147638" y="47625"/>
                  </a:cubicBezTo>
                  <a:cubicBezTo>
                    <a:pt x="154373" y="49870"/>
                    <a:pt x="152143" y="61655"/>
                    <a:pt x="157163" y="66675"/>
                  </a:cubicBezTo>
                  <a:cubicBezTo>
                    <a:pt x="167830" y="77342"/>
                    <a:pt x="193596" y="94139"/>
                    <a:pt x="209550" y="104775"/>
                  </a:cubicBezTo>
                  <a:cubicBezTo>
                    <a:pt x="212725" y="109538"/>
                    <a:pt x="213760" y="116937"/>
                    <a:pt x="219075" y="119063"/>
                  </a:cubicBezTo>
                  <a:cubicBezTo>
                    <a:pt x="223736" y="120927"/>
                    <a:pt x="229186" y="117085"/>
                    <a:pt x="233363" y="114300"/>
                  </a:cubicBezTo>
                  <a:cubicBezTo>
                    <a:pt x="238967" y="110564"/>
                    <a:pt x="242476" y="104325"/>
                    <a:pt x="247650" y="100013"/>
                  </a:cubicBezTo>
                  <a:cubicBezTo>
                    <a:pt x="252047" y="96349"/>
                    <a:pt x="257175" y="93663"/>
                    <a:pt x="261938" y="90488"/>
                  </a:cubicBezTo>
                  <a:cubicBezTo>
                    <a:pt x="277813" y="92075"/>
                    <a:pt x="294017" y="91663"/>
                    <a:pt x="309563" y="95250"/>
                  </a:cubicBezTo>
                  <a:cubicBezTo>
                    <a:pt x="356369" y="106051"/>
                    <a:pt x="276896" y="112600"/>
                    <a:pt x="352425" y="100013"/>
                  </a:cubicBezTo>
                  <a:cubicBezTo>
                    <a:pt x="366046" y="95472"/>
                    <a:pt x="370808" y="93479"/>
                    <a:pt x="385763" y="90488"/>
                  </a:cubicBezTo>
                  <a:cubicBezTo>
                    <a:pt x="387320" y="90177"/>
                    <a:pt x="388938" y="90488"/>
                    <a:pt x="390525" y="90488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BF36AEF7-258D-9336-C8F0-093B371847CB}"/>
                </a:ext>
              </a:extLst>
            </p:cNvPr>
            <p:cNvSpPr/>
            <p:nvPr/>
          </p:nvSpPr>
          <p:spPr bwMode="gray">
            <a:xfrm>
              <a:off x="11630618" y="4627892"/>
              <a:ext cx="209745" cy="234079"/>
            </a:xfrm>
            <a:custGeom>
              <a:avLst/>
              <a:gdLst>
                <a:gd name="connsiteX0" fmla="*/ 0 w 277381"/>
                <a:gd name="connsiteY0" fmla="*/ 0 h 309563"/>
                <a:gd name="connsiteX1" fmla="*/ 28575 w 277381"/>
                <a:gd name="connsiteY1" fmla="*/ 4763 h 309563"/>
                <a:gd name="connsiteX2" fmla="*/ 57150 w 277381"/>
                <a:gd name="connsiteY2" fmla="*/ 14288 h 309563"/>
                <a:gd name="connsiteX3" fmla="*/ 119062 w 277381"/>
                <a:gd name="connsiteY3" fmla="*/ 19050 h 309563"/>
                <a:gd name="connsiteX4" fmla="*/ 166687 w 277381"/>
                <a:gd name="connsiteY4" fmla="*/ 61913 h 309563"/>
                <a:gd name="connsiteX5" fmla="*/ 180975 w 277381"/>
                <a:gd name="connsiteY5" fmla="*/ 71438 h 309563"/>
                <a:gd name="connsiteX6" fmla="*/ 200025 w 277381"/>
                <a:gd name="connsiteY6" fmla="*/ 90488 h 309563"/>
                <a:gd name="connsiteX7" fmla="*/ 214312 w 277381"/>
                <a:gd name="connsiteY7" fmla="*/ 109538 h 309563"/>
                <a:gd name="connsiteX8" fmla="*/ 257175 w 277381"/>
                <a:gd name="connsiteY8" fmla="*/ 147638 h 309563"/>
                <a:gd name="connsiteX9" fmla="*/ 266700 w 277381"/>
                <a:gd name="connsiteY9" fmla="*/ 176213 h 309563"/>
                <a:gd name="connsiteX10" fmla="*/ 276225 w 277381"/>
                <a:gd name="connsiteY10" fmla="*/ 200025 h 309563"/>
                <a:gd name="connsiteX11" fmla="*/ 276225 w 277381"/>
                <a:gd name="connsiteY11" fmla="*/ 309563 h 30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81" h="309563">
                  <a:moveTo>
                    <a:pt x="0" y="0"/>
                  </a:moveTo>
                  <a:cubicBezTo>
                    <a:pt x="9525" y="1588"/>
                    <a:pt x="19207" y="2421"/>
                    <a:pt x="28575" y="4763"/>
                  </a:cubicBezTo>
                  <a:cubicBezTo>
                    <a:pt x="38315" y="7198"/>
                    <a:pt x="47233" y="12722"/>
                    <a:pt x="57150" y="14288"/>
                  </a:cubicBezTo>
                  <a:cubicBezTo>
                    <a:pt x="77595" y="17516"/>
                    <a:pt x="98425" y="17463"/>
                    <a:pt x="119062" y="19050"/>
                  </a:cubicBezTo>
                  <a:cubicBezTo>
                    <a:pt x="156571" y="37804"/>
                    <a:pt x="122425" y="17651"/>
                    <a:pt x="166687" y="61913"/>
                  </a:cubicBezTo>
                  <a:cubicBezTo>
                    <a:pt x="170734" y="65960"/>
                    <a:pt x="176629" y="67713"/>
                    <a:pt x="180975" y="71438"/>
                  </a:cubicBezTo>
                  <a:cubicBezTo>
                    <a:pt x="187793" y="77282"/>
                    <a:pt x="194112" y="83730"/>
                    <a:pt x="200025" y="90488"/>
                  </a:cubicBezTo>
                  <a:cubicBezTo>
                    <a:pt x="205252" y="96462"/>
                    <a:pt x="209002" y="103638"/>
                    <a:pt x="214312" y="109538"/>
                  </a:cubicBezTo>
                  <a:cubicBezTo>
                    <a:pt x="238779" y="136723"/>
                    <a:pt x="235145" y="132952"/>
                    <a:pt x="257175" y="147638"/>
                  </a:cubicBezTo>
                  <a:cubicBezTo>
                    <a:pt x="260350" y="157163"/>
                    <a:pt x="262971" y="166891"/>
                    <a:pt x="266700" y="176213"/>
                  </a:cubicBezTo>
                  <a:cubicBezTo>
                    <a:pt x="269875" y="184150"/>
                    <a:pt x="275616" y="191498"/>
                    <a:pt x="276225" y="200025"/>
                  </a:cubicBezTo>
                  <a:cubicBezTo>
                    <a:pt x="278826" y="236445"/>
                    <a:pt x="276225" y="273050"/>
                    <a:pt x="276225" y="30956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E462B2E-DE55-1D21-F9DC-4D382453C081}"/>
                </a:ext>
              </a:extLst>
            </p:cNvPr>
            <p:cNvSpPr/>
            <p:nvPr/>
          </p:nvSpPr>
          <p:spPr bwMode="gray">
            <a:xfrm>
              <a:off x="11155258" y="4581077"/>
              <a:ext cx="298900" cy="202102"/>
            </a:xfrm>
            <a:custGeom>
              <a:avLst/>
              <a:gdLst>
                <a:gd name="connsiteX0" fmla="*/ 0 w 395287"/>
                <a:gd name="connsiteY0" fmla="*/ 0 h 267274"/>
                <a:gd name="connsiteX1" fmla="*/ 61912 w 395287"/>
                <a:gd name="connsiteY1" fmla="*/ 23812 h 267274"/>
                <a:gd name="connsiteX2" fmla="*/ 90487 w 395287"/>
                <a:gd name="connsiteY2" fmla="*/ 42862 h 267274"/>
                <a:gd name="connsiteX3" fmla="*/ 109537 w 395287"/>
                <a:gd name="connsiteY3" fmla="*/ 52387 h 267274"/>
                <a:gd name="connsiteX4" fmla="*/ 128587 w 395287"/>
                <a:gd name="connsiteY4" fmla="*/ 66675 h 267274"/>
                <a:gd name="connsiteX5" fmla="*/ 161925 w 395287"/>
                <a:gd name="connsiteY5" fmla="*/ 90487 h 267274"/>
                <a:gd name="connsiteX6" fmla="*/ 180975 w 395287"/>
                <a:gd name="connsiteY6" fmla="*/ 123825 h 267274"/>
                <a:gd name="connsiteX7" fmla="*/ 195262 w 395287"/>
                <a:gd name="connsiteY7" fmla="*/ 128587 h 267274"/>
                <a:gd name="connsiteX8" fmla="*/ 209550 w 395287"/>
                <a:gd name="connsiteY8" fmla="*/ 138112 h 267274"/>
                <a:gd name="connsiteX9" fmla="*/ 223837 w 395287"/>
                <a:gd name="connsiteY9" fmla="*/ 142875 h 267274"/>
                <a:gd name="connsiteX10" fmla="*/ 261937 w 395287"/>
                <a:gd name="connsiteY10" fmla="*/ 157162 h 267274"/>
                <a:gd name="connsiteX11" fmla="*/ 276225 w 395287"/>
                <a:gd name="connsiteY11" fmla="*/ 166687 h 267274"/>
                <a:gd name="connsiteX12" fmla="*/ 295275 w 395287"/>
                <a:gd name="connsiteY12" fmla="*/ 176212 h 267274"/>
                <a:gd name="connsiteX13" fmla="*/ 309562 w 395287"/>
                <a:gd name="connsiteY13" fmla="*/ 190500 h 267274"/>
                <a:gd name="connsiteX14" fmla="*/ 319087 w 395287"/>
                <a:gd name="connsiteY14" fmla="*/ 214312 h 267274"/>
                <a:gd name="connsiteX15" fmla="*/ 323850 w 395287"/>
                <a:gd name="connsiteY15" fmla="*/ 233362 h 267274"/>
                <a:gd name="connsiteX16" fmla="*/ 342900 w 395287"/>
                <a:gd name="connsiteY16" fmla="*/ 247650 h 267274"/>
                <a:gd name="connsiteX17" fmla="*/ 352425 w 395287"/>
                <a:gd name="connsiteY17" fmla="*/ 261937 h 267274"/>
                <a:gd name="connsiteX18" fmla="*/ 395287 w 395287"/>
                <a:gd name="connsiteY18" fmla="*/ 266700 h 26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5287" h="267274">
                  <a:moveTo>
                    <a:pt x="0" y="0"/>
                  </a:moveTo>
                  <a:cubicBezTo>
                    <a:pt x="21106" y="7035"/>
                    <a:pt x="42151" y="13171"/>
                    <a:pt x="61912" y="23812"/>
                  </a:cubicBezTo>
                  <a:cubicBezTo>
                    <a:pt x="71991" y="29239"/>
                    <a:pt x="80671" y="36972"/>
                    <a:pt x="90487" y="42862"/>
                  </a:cubicBezTo>
                  <a:cubicBezTo>
                    <a:pt x="96575" y="46515"/>
                    <a:pt x="103517" y="48624"/>
                    <a:pt x="109537" y="52387"/>
                  </a:cubicBezTo>
                  <a:cubicBezTo>
                    <a:pt x="116268" y="56594"/>
                    <a:pt x="122128" y="62061"/>
                    <a:pt x="128587" y="66675"/>
                  </a:cubicBezTo>
                  <a:cubicBezTo>
                    <a:pt x="177376" y="101524"/>
                    <a:pt x="99612" y="43754"/>
                    <a:pt x="161925" y="90487"/>
                  </a:cubicBezTo>
                  <a:cubicBezTo>
                    <a:pt x="166672" y="104731"/>
                    <a:pt x="167666" y="112734"/>
                    <a:pt x="180975" y="123825"/>
                  </a:cubicBezTo>
                  <a:cubicBezTo>
                    <a:pt x="184831" y="127039"/>
                    <a:pt x="190500" y="127000"/>
                    <a:pt x="195262" y="128587"/>
                  </a:cubicBezTo>
                  <a:cubicBezTo>
                    <a:pt x="200025" y="131762"/>
                    <a:pt x="204430" y="135552"/>
                    <a:pt x="209550" y="138112"/>
                  </a:cubicBezTo>
                  <a:cubicBezTo>
                    <a:pt x="214040" y="140357"/>
                    <a:pt x="219137" y="141112"/>
                    <a:pt x="223837" y="142875"/>
                  </a:cubicBezTo>
                  <a:cubicBezTo>
                    <a:pt x="269366" y="159949"/>
                    <a:pt x="229525" y="146359"/>
                    <a:pt x="261937" y="157162"/>
                  </a:cubicBezTo>
                  <a:cubicBezTo>
                    <a:pt x="266700" y="160337"/>
                    <a:pt x="271255" y="163847"/>
                    <a:pt x="276225" y="166687"/>
                  </a:cubicBezTo>
                  <a:cubicBezTo>
                    <a:pt x="282389" y="170209"/>
                    <a:pt x="289498" y="172085"/>
                    <a:pt x="295275" y="176212"/>
                  </a:cubicBezTo>
                  <a:cubicBezTo>
                    <a:pt x="300756" y="180127"/>
                    <a:pt x="304800" y="185737"/>
                    <a:pt x="309562" y="190500"/>
                  </a:cubicBezTo>
                  <a:cubicBezTo>
                    <a:pt x="312737" y="198437"/>
                    <a:pt x="316384" y="206202"/>
                    <a:pt x="319087" y="214312"/>
                  </a:cubicBezTo>
                  <a:cubicBezTo>
                    <a:pt x="321157" y="220522"/>
                    <a:pt x="320046" y="228036"/>
                    <a:pt x="323850" y="233362"/>
                  </a:cubicBezTo>
                  <a:cubicBezTo>
                    <a:pt x="328464" y="239821"/>
                    <a:pt x="337287" y="242037"/>
                    <a:pt x="342900" y="247650"/>
                  </a:cubicBezTo>
                  <a:cubicBezTo>
                    <a:pt x="346947" y="251697"/>
                    <a:pt x="347956" y="258361"/>
                    <a:pt x="352425" y="261937"/>
                  </a:cubicBezTo>
                  <a:cubicBezTo>
                    <a:pt x="362144" y="269712"/>
                    <a:pt x="387504" y="266700"/>
                    <a:pt x="395287" y="26670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A23B665C-F254-419E-661E-A92612792524}"/>
                </a:ext>
              </a:extLst>
            </p:cNvPr>
            <p:cNvSpPr/>
            <p:nvPr/>
          </p:nvSpPr>
          <p:spPr bwMode="gray">
            <a:xfrm>
              <a:off x="11565796" y="4977210"/>
              <a:ext cx="158454" cy="439348"/>
            </a:xfrm>
            <a:custGeom>
              <a:avLst/>
              <a:gdLst>
                <a:gd name="connsiteX0" fmla="*/ 0 w 209550"/>
                <a:gd name="connsiteY0" fmla="*/ 0 h 581025"/>
                <a:gd name="connsiteX1" fmla="*/ 23812 w 209550"/>
                <a:gd name="connsiteY1" fmla="*/ 9525 h 581025"/>
                <a:gd name="connsiteX2" fmla="*/ 42862 w 209550"/>
                <a:gd name="connsiteY2" fmla="*/ 42862 h 581025"/>
                <a:gd name="connsiteX3" fmla="*/ 57150 w 209550"/>
                <a:gd name="connsiteY3" fmla="*/ 61912 h 581025"/>
                <a:gd name="connsiteX4" fmla="*/ 66675 w 209550"/>
                <a:gd name="connsiteY4" fmla="*/ 242887 h 581025"/>
                <a:gd name="connsiteX5" fmla="*/ 80962 w 209550"/>
                <a:gd name="connsiteY5" fmla="*/ 271462 h 581025"/>
                <a:gd name="connsiteX6" fmla="*/ 90487 w 209550"/>
                <a:gd name="connsiteY6" fmla="*/ 290512 h 581025"/>
                <a:gd name="connsiteX7" fmla="*/ 100012 w 209550"/>
                <a:gd name="connsiteY7" fmla="*/ 314325 h 581025"/>
                <a:gd name="connsiteX8" fmla="*/ 109537 w 209550"/>
                <a:gd name="connsiteY8" fmla="*/ 328612 h 581025"/>
                <a:gd name="connsiteX9" fmla="*/ 114300 w 209550"/>
                <a:gd name="connsiteY9" fmla="*/ 342900 h 581025"/>
                <a:gd name="connsiteX10" fmla="*/ 133350 w 209550"/>
                <a:gd name="connsiteY10" fmla="*/ 371475 h 581025"/>
                <a:gd name="connsiteX11" fmla="*/ 147637 w 209550"/>
                <a:gd name="connsiteY11" fmla="*/ 404812 h 581025"/>
                <a:gd name="connsiteX12" fmla="*/ 190500 w 209550"/>
                <a:gd name="connsiteY12" fmla="*/ 457200 h 581025"/>
                <a:gd name="connsiteX13" fmla="*/ 204787 w 209550"/>
                <a:gd name="connsiteY13" fmla="*/ 466725 h 581025"/>
                <a:gd name="connsiteX14" fmla="*/ 209550 w 209550"/>
                <a:gd name="connsiteY14" fmla="*/ 481012 h 581025"/>
                <a:gd name="connsiteX15" fmla="*/ 180975 w 209550"/>
                <a:gd name="connsiteY15" fmla="*/ 519112 h 581025"/>
                <a:gd name="connsiteX16" fmla="*/ 166687 w 209550"/>
                <a:gd name="connsiteY16" fmla="*/ 523875 h 581025"/>
                <a:gd name="connsiteX17" fmla="*/ 138112 w 209550"/>
                <a:gd name="connsiteY17" fmla="*/ 542925 h 581025"/>
                <a:gd name="connsiteX18" fmla="*/ 133350 w 209550"/>
                <a:gd name="connsiteY18" fmla="*/ 557212 h 581025"/>
                <a:gd name="connsiteX19" fmla="*/ 123825 w 209550"/>
                <a:gd name="connsiteY19" fmla="*/ 571500 h 581025"/>
                <a:gd name="connsiteX20" fmla="*/ 119062 w 209550"/>
                <a:gd name="connsiteY20" fmla="*/ 581025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550" h="581025">
                  <a:moveTo>
                    <a:pt x="0" y="0"/>
                  </a:moveTo>
                  <a:cubicBezTo>
                    <a:pt x="7937" y="3175"/>
                    <a:pt x="16856" y="4556"/>
                    <a:pt x="23812" y="9525"/>
                  </a:cubicBezTo>
                  <a:cubicBezTo>
                    <a:pt x="29733" y="13754"/>
                    <a:pt x="40133" y="38495"/>
                    <a:pt x="42862" y="42862"/>
                  </a:cubicBezTo>
                  <a:cubicBezTo>
                    <a:pt x="47069" y="49593"/>
                    <a:pt x="52387" y="55562"/>
                    <a:pt x="57150" y="61912"/>
                  </a:cubicBezTo>
                  <a:cubicBezTo>
                    <a:pt x="79930" y="130263"/>
                    <a:pt x="56863" y="56464"/>
                    <a:pt x="66675" y="242887"/>
                  </a:cubicBezTo>
                  <a:cubicBezTo>
                    <a:pt x="67308" y="254912"/>
                    <a:pt x="75423" y="261769"/>
                    <a:pt x="80962" y="271462"/>
                  </a:cubicBezTo>
                  <a:cubicBezTo>
                    <a:pt x="84484" y="277626"/>
                    <a:pt x="87604" y="284024"/>
                    <a:pt x="90487" y="290512"/>
                  </a:cubicBezTo>
                  <a:cubicBezTo>
                    <a:pt x="93959" y="298324"/>
                    <a:pt x="96189" y="306678"/>
                    <a:pt x="100012" y="314325"/>
                  </a:cubicBezTo>
                  <a:cubicBezTo>
                    <a:pt x="102572" y="319444"/>
                    <a:pt x="106977" y="323493"/>
                    <a:pt x="109537" y="328612"/>
                  </a:cubicBezTo>
                  <a:cubicBezTo>
                    <a:pt x="111782" y="333102"/>
                    <a:pt x="111862" y="338511"/>
                    <a:pt x="114300" y="342900"/>
                  </a:cubicBezTo>
                  <a:cubicBezTo>
                    <a:pt x="119859" y="352907"/>
                    <a:pt x="127460" y="361659"/>
                    <a:pt x="133350" y="371475"/>
                  </a:cubicBezTo>
                  <a:cubicBezTo>
                    <a:pt x="163085" y="421034"/>
                    <a:pt x="127927" y="365392"/>
                    <a:pt x="147637" y="404812"/>
                  </a:cubicBezTo>
                  <a:cubicBezTo>
                    <a:pt x="157517" y="424572"/>
                    <a:pt x="171879" y="444786"/>
                    <a:pt x="190500" y="457200"/>
                  </a:cubicBezTo>
                  <a:lnTo>
                    <a:pt x="204787" y="466725"/>
                  </a:lnTo>
                  <a:cubicBezTo>
                    <a:pt x="206375" y="471487"/>
                    <a:pt x="209550" y="475992"/>
                    <a:pt x="209550" y="481012"/>
                  </a:cubicBezTo>
                  <a:cubicBezTo>
                    <a:pt x="209550" y="502146"/>
                    <a:pt x="198672" y="508051"/>
                    <a:pt x="180975" y="519112"/>
                  </a:cubicBezTo>
                  <a:cubicBezTo>
                    <a:pt x="176718" y="521773"/>
                    <a:pt x="171076" y="521437"/>
                    <a:pt x="166687" y="523875"/>
                  </a:cubicBezTo>
                  <a:cubicBezTo>
                    <a:pt x="156680" y="529434"/>
                    <a:pt x="138112" y="542925"/>
                    <a:pt x="138112" y="542925"/>
                  </a:cubicBezTo>
                  <a:cubicBezTo>
                    <a:pt x="136525" y="547687"/>
                    <a:pt x="135595" y="552722"/>
                    <a:pt x="133350" y="557212"/>
                  </a:cubicBezTo>
                  <a:cubicBezTo>
                    <a:pt x="130790" y="562332"/>
                    <a:pt x="126770" y="566592"/>
                    <a:pt x="123825" y="571500"/>
                  </a:cubicBezTo>
                  <a:cubicBezTo>
                    <a:pt x="121999" y="574544"/>
                    <a:pt x="120650" y="577850"/>
                    <a:pt x="119062" y="58102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91C7FE7-A217-2E48-5C15-42DA80100395}"/>
                </a:ext>
              </a:extLst>
            </p:cNvPr>
            <p:cNvSpPr/>
            <p:nvPr/>
          </p:nvSpPr>
          <p:spPr bwMode="gray">
            <a:xfrm>
              <a:off x="11198472" y="4988013"/>
              <a:ext cx="77973" cy="298901"/>
            </a:xfrm>
            <a:custGeom>
              <a:avLst/>
              <a:gdLst>
                <a:gd name="connsiteX0" fmla="*/ 19050 w 103117"/>
                <a:gd name="connsiteY0" fmla="*/ 395288 h 395288"/>
                <a:gd name="connsiteX1" fmla="*/ 38100 w 103117"/>
                <a:gd name="connsiteY1" fmla="*/ 366713 h 395288"/>
                <a:gd name="connsiteX2" fmla="*/ 47625 w 103117"/>
                <a:gd name="connsiteY2" fmla="*/ 342900 h 395288"/>
                <a:gd name="connsiteX3" fmla="*/ 52387 w 103117"/>
                <a:gd name="connsiteY3" fmla="*/ 328613 h 395288"/>
                <a:gd name="connsiteX4" fmla="*/ 66675 w 103117"/>
                <a:gd name="connsiteY4" fmla="*/ 309563 h 395288"/>
                <a:gd name="connsiteX5" fmla="*/ 80962 w 103117"/>
                <a:gd name="connsiteY5" fmla="*/ 304800 h 395288"/>
                <a:gd name="connsiteX6" fmla="*/ 85725 w 103117"/>
                <a:gd name="connsiteY6" fmla="*/ 171450 h 395288"/>
                <a:gd name="connsiteX7" fmla="*/ 76200 w 103117"/>
                <a:gd name="connsiteY7" fmla="*/ 152400 h 395288"/>
                <a:gd name="connsiteX8" fmla="*/ 28575 w 103117"/>
                <a:gd name="connsiteY8" fmla="*/ 138113 h 395288"/>
                <a:gd name="connsiteX9" fmla="*/ 23812 w 103117"/>
                <a:gd name="connsiteY9" fmla="*/ 114300 h 395288"/>
                <a:gd name="connsiteX10" fmla="*/ 19050 w 103117"/>
                <a:gd name="connsiteY10" fmla="*/ 95250 h 395288"/>
                <a:gd name="connsiteX11" fmla="*/ 14287 w 103117"/>
                <a:gd name="connsiteY11" fmla="*/ 28575 h 395288"/>
                <a:gd name="connsiteX12" fmla="*/ 9525 w 103117"/>
                <a:gd name="connsiteY12" fmla="*/ 9525 h 395288"/>
                <a:gd name="connsiteX13" fmla="*/ 0 w 103117"/>
                <a:gd name="connsiteY13" fmla="*/ 0 h 39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117" h="395288">
                  <a:moveTo>
                    <a:pt x="19050" y="395288"/>
                  </a:moveTo>
                  <a:cubicBezTo>
                    <a:pt x="25400" y="385763"/>
                    <a:pt x="32618" y="376763"/>
                    <a:pt x="38100" y="366713"/>
                  </a:cubicBezTo>
                  <a:cubicBezTo>
                    <a:pt x="42194" y="359208"/>
                    <a:pt x="44623" y="350905"/>
                    <a:pt x="47625" y="342900"/>
                  </a:cubicBezTo>
                  <a:cubicBezTo>
                    <a:pt x="49388" y="338200"/>
                    <a:pt x="49896" y="332971"/>
                    <a:pt x="52387" y="328613"/>
                  </a:cubicBezTo>
                  <a:cubicBezTo>
                    <a:pt x="56325" y="321721"/>
                    <a:pt x="60577" y="314645"/>
                    <a:pt x="66675" y="309563"/>
                  </a:cubicBezTo>
                  <a:cubicBezTo>
                    <a:pt x="70531" y="306349"/>
                    <a:pt x="76200" y="306388"/>
                    <a:pt x="80962" y="304800"/>
                  </a:cubicBezTo>
                  <a:cubicBezTo>
                    <a:pt x="116921" y="256856"/>
                    <a:pt x="102020" y="285513"/>
                    <a:pt x="85725" y="171450"/>
                  </a:cubicBezTo>
                  <a:cubicBezTo>
                    <a:pt x="84721" y="164422"/>
                    <a:pt x="81880" y="156660"/>
                    <a:pt x="76200" y="152400"/>
                  </a:cubicBezTo>
                  <a:cubicBezTo>
                    <a:pt x="70401" y="148051"/>
                    <a:pt x="38469" y="140586"/>
                    <a:pt x="28575" y="138113"/>
                  </a:cubicBezTo>
                  <a:cubicBezTo>
                    <a:pt x="26987" y="130175"/>
                    <a:pt x="25568" y="122202"/>
                    <a:pt x="23812" y="114300"/>
                  </a:cubicBezTo>
                  <a:cubicBezTo>
                    <a:pt x="22392" y="107910"/>
                    <a:pt x="19773" y="101755"/>
                    <a:pt x="19050" y="95250"/>
                  </a:cubicBezTo>
                  <a:cubicBezTo>
                    <a:pt x="16589" y="73105"/>
                    <a:pt x="16748" y="50720"/>
                    <a:pt x="14287" y="28575"/>
                  </a:cubicBezTo>
                  <a:cubicBezTo>
                    <a:pt x="13564" y="22070"/>
                    <a:pt x="12452" y="15379"/>
                    <a:pt x="9525" y="9525"/>
                  </a:cubicBezTo>
                  <a:cubicBezTo>
                    <a:pt x="7517" y="5509"/>
                    <a:pt x="3175" y="3175"/>
                    <a:pt x="0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E84B6210-C502-F4C3-FBF0-611F5146C156}"/>
                </a:ext>
              </a:extLst>
            </p:cNvPr>
            <p:cNvSpPr/>
            <p:nvPr/>
          </p:nvSpPr>
          <p:spPr bwMode="gray">
            <a:xfrm>
              <a:off x="11349723" y="4789948"/>
              <a:ext cx="140704" cy="237680"/>
            </a:xfrm>
            <a:custGeom>
              <a:avLst/>
              <a:gdLst>
                <a:gd name="connsiteX0" fmla="*/ 0 w 186077"/>
                <a:gd name="connsiteY0" fmla="*/ 314325 h 314325"/>
                <a:gd name="connsiteX1" fmla="*/ 9525 w 186077"/>
                <a:gd name="connsiteY1" fmla="*/ 257175 h 314325"/>
                <a:gd name="connsiteX2" fmla="*/ 14287 w 186077"/>
                <a:gd name="connsiteY2" fmla="*/ 242887 h 314325"/>
                <a:gd name="connsiteX3" fmla="*/ 19050 w 186077"/>
                <a:gd name="connsiteY3" fmla="*/ 223837 h 314325"/>
                <a:gd name="connsiteX4" fmla="*/ 38100 w 186077"/>
                <a:gd name="connsiteY4" fmla="*/ 209550 h 314325"/>
                <a:gd name="connsiteX5" fmla="*/ 76200 w 186077"/>
                <a:gd name="connsiteY5" fmla="*/ 195262 h 314325"/>
                <a:gd name="connsiteX6" fmla="*/ 114300 w 186077"/>
                <a:gd name="connsiteY6" fmla="*/ 166687 h 314325"/>
                <a:gd name="connsiteX7" fmla="*/ 128587 w 186077"/>
                <a:gd name="connsiteY7" fmla="*/ 161925 h 314325"/>
                <a:gd name="connsiteX8" fmla="*/ 142875 w 186077"/>
                <a:gd name="connsiteY8" fmla="*/ 147637 h 314325"/>
                <a:gd name="connsiteX9" fmla="*/ 176212 w 186077"/>
                <a:gd name="connsiteY9" fmla="*/ 123825 h 314325"/>
                <a:gd name="connsiteX10" fmla="*/ 185737 w 186077"/>
                <a:gd name="connsiteY10" fmla="*/ 109537 h 314325"/>
                <a:gd name="connsiteX11" fmla="*/ 176212 w 186077"/>
                <a:gd name="connsiteY11" fmla="*/ 19050 h 314325"/>
                <a:gd name="connsiteX12" fmla="*/ 176212 w 186077"/>
                <a:gd name="connsiteY1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077" h="314325">
                  <a:moveTo>
                    <a:pt x="0" y="314325"/>
                  </a:moveTo>
                  <a:cubicBezTo>
                    <a:pt x="3175" y="295275"/>
                    <a:pt x="3419" y="275497"/>
                    <a:pt x="9525" y="257175"/>
                  </a:cubicBezTo>
                  <a:cubicBezTo>
                    <a:pt x="11112" y="252412"/>
                    <a:pt x="12908" y="247714"/>
                    <a:pt x="14287" y="242887"/>
                  </a:cubicBezTo>
                  <a:cubicBezTo>
                    <a:pt x="16085" y="236593"/>
                    <a:pt x="15245" y="229163"/>
                    <a:pt x="19050" y="223837"/>
                  </a:cubicBezTo>
                  <a:cubicBezTo>
                    <a:pt x="23664" y="217378"/>
                    <a:pt x="31161" y="213405"/>
                    <a:pt x="38100" y="209550"/>
                  </a:cubicBezTo>
                  <a:cubicBezTo>
                    <a:pt x="46641" y="204805"/>
                    <a:pt x="65507" y="198827"/>
                    <a:pt x="76200" y="195262"/>
                  </a:cubicBezTo>
                  <a:cubicBezTo>
                    <a:pt x="82045" y="190586"/>
                    <a:pt x="104189" y="171742"/>
                    <a:pt x="114300" y="166687"/>
                  </a:cubicBezTo>
                  <a:cubicBezTo>
                    <a:pt x="118790" y="164442"/>
                    <a:pt x="123825" y="163512"/>
                    <a:pt x="128587" y="161925"/>
                  </a:cubicBezTo>
                  <a:cubicBezTo>
                    <a:pt x="133350" y="157162"/>
                    <a:pt x="137761" y="152020"/>
                    <a:pt x="142875" y="147637"/>
                  </a:cubicBezTo>
                  <a:cubicBezTo>
                    <a:pt x="153208" y="138780"/>
                    <a:pt x="164908" y="131361"/>
                    <a:pt x="176212" y="123825"/>
                  </a:cubicBezTo>
                  <a:cubicBezTo>
                    <a:pt x="179387" y="119062"/>
                    <a:pt x="185356" y="115248"/>
                    <a:pt x="185737" y="109537"/>
                  </a:cubicBezTo>
                  <a:cubicBezTo>
                    <a:pt x="187913" y="76903"/>
                    <a:pt x="179057" y="50346"/>
                    <a:pt x="176212" y="19050"/>
                  </a:cubicBezTo>
                  <a:cubicBezTo>
                    <a:pt x="175637" y="12726"/>
                    <a:pt x="176212" y="6350"/>
                    <a:pt x="176212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7112EF03-FC2C-C89D-E6AC-BF80953B5770}"/>
                </a:ext>
              </a:extLst>
            </p:cNvPr>
            <p:cNvSpPr/>
            <p:nvPr/>
          </p:nvSpPr>
          <p:spPr bwMode="gray">
            <a:xfrm>
              <a:off x="11514619" y="4699917"/>
              <a:ext cx="11563" cy="140447"/>
            </a:xfrm>
            <a:custGeom>
              <a:avLst/>
              <a:gdLst>
                <a:gd name="connsiteX0" fmla="*/ 5767 w 15292"/>
                <a:gd name="connsiteY0" fmla="*/ 185738 h 185738"/>
                <a:gd name="connsiteX1" fmla="*/ 5767 w 15292"/>
                <a:gd name="connsiteY1" fmla="*/ 104775 h 185738"/>
                <a:gd name="connsiteX2" fmla="*/ 15292 w 15292"/>
                <a:gd name="connsiteY2" fmla="*/ 66675 h 185738"/>
                <a:gd name="connsiteX3" fmla="*/ 15292 w 15292"/>
                <a:gd name="connsiteY3" fmla="*/ 0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92" h="185738">
                  <a:moveTo>
                    <a:pt x="5767" y="185738"/>
                  </a:moveTo>
                  <a:cubicBezTo>
                    <a:pt x="-1691" y="148441"/>
                    <a:pt x="-2152" y="157568"/>
                    <a:pt x="5767" y="104775"/>
                  </a:cubicBezTo>
                  <a:cubicBezTo>
                    <a:pt x="7709" y="91829"/>
                    <a:pt x="15292" y="79766"/>
                    <a:pt x="15292" y="66675"/>
                  </a:cubicBezTo>
                  <a:lnTo>
                    <a:pt x="15292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E8A0AEB0-AB41-26CF-701D-68BA257A08E5}"/>
                </a:ext>
              </a:extLst>
            </p:cNvPr>
            <p:cNvSpPr/>
            <p:nvPr/>
          </p:nvSpPr>
          <p:spPr bwMode="gray">
            <a:xfrm>
              <a:off x="11367729" y="5056437"/>
              <a:ext cx="90045" cy="252085"/>
            </a:xfrm>
            <a:custGeom>
              <a:avLst/>
              <a:gdLst>
                <a:gd name="connsiteX0" fmla="*/ 47625 w 119082"/>
                <a:gd name="connsiteY0" fmla="*/ 333375 h 333375"/>
                <a:gd name="connsiteX1" fmla="*/ 66675 w 119082"/>
                <a:gd name="connsiteY1" fmla="*/ 290512 h 333375"/>
                <a:gd name="connsiteX2" fmla="*/ 80963 w 119082"/>
                <a:gd name="connsiteY2" fmla="*/ 266700 h 333375"/>
                <a:gd name="connsiteX3" fmla="*/ 109538 w 119082"/>
                <a:gd name="connsiteY3" fmla="*/ 223837 h 333375"/>
                <a:gd name="connsiteX4" fmla="*/ 119063 w 119082"/>
                <a:gd name="connsiteY4" fmla="*/ 180975 h 333375"/>
                <a:gd name="connsiteX5" fmla="*/ 95250 w 119082"/>
                <a:gd name="connsiteY5" fmla="*/ 100012 h 333375"/>
                <a:gd name="connsiteX6" fmla="*/ 76200 w 119082"/>
                <a:gd name="connsiteY6" fmla="*/ 80962 h 333375"/>
                <a:gd name="connsiteX7" fmla="*/ 57150 w 119082"/>
                <a:gd name="connsiteY7" fmla="*/ 71437 h 333375"/>
                <a:gd name="connsiteX8" fmla="*/ 42863 w 119082"/>
                <a:gd name="connsiteY8" fmla="*/ 52387 h 333375"/>
                <a:gd name="connsiteX9" fmla="*/ 14288 w 119082"/>
                <a:gd name="connsiteY9" fmla="*/ 28575 h 333375"/>
                <a:gd name="connsiteX10" fmla="*/ 4763 w 119082"/>
                <a:gd name="connsiteY10" fmla="*/ 9525 h 333375"/>
                <a:gd name="connsiteX11" fmla="*/ 0 w 119082"/>
                <a:gd name="connsiteY11" fmla="*/ 0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082" h="333375">
                  <a:moveTo>
                    <a:pt x="47625" y="333375"/>
                  </a:moveTo>
                  <a:cubicBezTo>
                    <a:pt x="95017" y="254389"/>
                    <a:pt x="38642" y="353586"/>
                    <a:pt x="66675" y="290512"/>
                  </a:cubicBezTo>
                  <a:cubicBezTo>
                    <a:pt x="70434" y="282053"/>
                    <a:pt x="76467" y="274792"/>
                    <a:pt x="80963" y="266700"/>
                  </a:cubicBezTo>
                  <a:cubicBezTo>
                    <a:pt x="100153" y="232159"/>
                    <a:pt x="78724" y="262356"/>
                    <a:pt x="109538" y="223837"/>
                  </a:cubicBezTo>
                  <a:cubicBezTo>
                    <a:pt x="110983" y="218057"/>
                    <a:pt x="119546" y="185082"/>
                    <a:pt x="119063" y="180975"/>
                  </a:cubicBezTo>
                  <a:cubicBezTo>
                    <a:pt x="118738" y="178216"/>
                    <a:pt x="105086" y="114766"/>
                    <a:pt x="95250" y="100012"/>
                  </a:cubicBezTo>
                  <a:cubicBezTo>
                    <a:pt x="90269" y="92540"/>
                    <a:pt x="83384" y="86350"/>
                    <a:pt x="76200" y="80962"/>
                  </a:cubicBezTo>
                  <a:cubicBezTo>
                    <a:pt x="70520" y="76702"/>
                    <a:pt x="63500" y="74612"/>
                    <a:pt x="57150" y="71437"/>
                  </a:cubicBezTo>
                  <a:cubicBezTo>
                    <a:pt x="52388" y="65087"/>
                    <a:pt x="48476" y="58000"/>
                    <a:pt x="42863" y="52387"/>
                  </a:cubicBezTo>
                  <a:cubicBezTo>
                    <a:pt x="21976" y="31500"/>
                    <a:pt x="33793" y="55883"/>
                    <a:pt x="14288" y="28575"/>
                  </a:cubicBezTo>
                  <a:cubicBezTo>
                    <a:pt x="10162" y="22798"/>
                    <a:pt x="7938" y="15875"/>
                    <a:pt x="4763" y="9525"/>
                  </a:cubicBez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B5CD5873-D6DB-C8BD-366C-3AC0DF7B3949}"/>
                </a:ext>
              </a:extLst>
            </p:cNvPr>
            <p:cNvSpPr/>
            <p:nvPr/>
          </p:nvSpPr>
          <p:spPr bwMode="gray">
            <a:xfrm>
              <a:off x="10092899" y="4588280"/>
              <a:ext cx="32411" cy="259287"/>
            </a:xfrm>
            <a:custGeom>
              <a:avLst/>
              <a:gdLst>
                <a:gd name="connsiteX0" fmla="*/ 9525 w 42863"/>
                <a:gd name="connsiteY0" fmla="*/ 342900 h 342900"/>
                <a:gd name="connsiteX1" fmla="*/ 9525 w 42863"/>
                <a:gd name="connsiteY1" fmla="*/ 147637 h 342900"/>
                <a:gd name="connsiteX2" fmla="*/ 0 w 42863"/>
                <a:gd name="connsiteY2" fmla="*/ 109537 h 342900"/>
                <a:gd name="connsiteX3" fmla="*/ 9525 w 42863"/>
                <a:gd name="connsiteY3" fmla="*/ 66675 h 342900"/>
                <a:gd name="connsiteX4" fmla="*/ 38100 w 42863"/>
                <a:gd name="connsiteY4" fmla="*/ 19050 h 342900"/>
                <a:gd name="connsiteX5" fmla="*/ 42863 w 4286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63" h="342900">
                  <a:moveTo>
                    <a:pt x="9525" y="342900"/>
                  </a:moveTo>
                  <a:cubicBezTo>
                    <a:pt x="24735" y="266855"/>
                    <a:pt x="19923" y="300131"/>
                    <a:pt x="9525" y="147637"/>
                  </a:cubicBezTo>
                  <a:cubicBezTo>
                    <a:pt x="8634" y="134576"/>
                    <a:pt x="0" y="109537"/>
                    <a:pt x="0" y="109537"/>
                  </a:cubicBezTo>
                  <a:cubicBezTo>
                    <a:pt x="3175" y="95250"/>
                    <a:pt x="5221" y="80664"/>
                    <a:pt x="9525" y="66675"/>
                  </a:cubicBezTo>
                  <a:cubicBezTo>
                    <a:pt x="13709" y="53076"/>
                    <a:pt x="31979" y="28232"/>
                    <a:pt x="38100" y="19050"/>
                  </a:cubicBezTo>
                  <a:lnTo>
                    <a:pt x="42863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A32CF3D1-ADD4-E0DD-37DE-9AF8CDB40C6A}"/>
                </a:ext>
              </a:extLst>
            </p:cNvPr>
            <p:cNvSpPr/>
            <p:nvPr/>
          </p:nvSpPr>
          <p:spPr bwMode="gray">
            <a:xfrm>
              <a:off x="9873224" y="4303783"/>
              <a:ext cx="75625" cy="122441"/>
            </a:xfrm>
            <a:custGeom>
              <a:avLst/>
              <a:gdLst>
                <a:gd name="connsiteX0" fmla="*/ 80962 w 100012"/>
                <a:gd name="connsiteY0" fmla="*/ 161925 h 161925"/>
                <a:gd name="connsiteX1" fmla="*/ 90487 w 100012"/>
                <a:gd name="connsiteY1" fmla="*/ 119063 h 161925"/>
                <a:gd name="connsiteX2" fmla="*/ 100012 w 100012"/>
                <a:gd name="connsiteY2" fmla="*/ 100013 h 161925"/>
                <a:gd name="connsiteX3" fmla="*/ 95250 w 100012"/>
                <a:gd name="connsiteY3" fmla="*/ 76200 h 161925"/>
                <a:gd name="connsiteX4" fmla="*/ 80962 w 100012"/>
                <a:gd name="connsiteY4" fmla="*/ 71438 h 161925"/>
                <a:gd name="connsiteX5" fmla="*/ 52387 w 100012"/>
                <a:gd name="connsiteY5" fmla="*/ 57150 h 161925"/>
                <a:gd name="connsiteX6" fmla="*/ 4762 w 100012"/>
                <a:gd name="connsiteY6" fmla="*/ 14288 h 161925"/>
                <a:gd name="connsiteX7" fmla="*/ 0 w 100012"/>
                <a:gd name="connsiteY7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12" h="161925">
                  <a:moveTo>
                    <a:pt x="80962" y="161925"/>
                  </a:moveTo>
                  <a:cubicBezTo>
                    <a:pt x="82254" y="155467"/>
                    <a:pt x="87607" y="126743"/>
                    <a:pt x="90487" y="119063"/>
                  </a:cubicBezTo>
                  <a:cubicBezTo>
                    <a:pt x="92980" y="112415"/>
                    <a:pt x="96837" y="106363"/>
                    <a:pt x="100012" y="100013"/>
                  </a:cubicBezTo>
                  <a:cubicBezTo>
                    <a:pt x="98425" y="92075"/>
                    <a:pt x="99740" y="82935"/>
                    <a:pt x="95250" y="76200"/>
                  </a:cubicBezTo>
                  <a:cubicBezTo>
                    <a:pt x="92465" y="72023"/>
                    <a:pt x="85550" y="73477"/>
                    <a:pt x="80962" y="71438"/>
                  </a:cubicBezTo>
                  <a:cubicBezTo>
                    <a:pt x="71230" y="67113"/>
                    <a:pt x="61248" y="63057"/>
                    <a:pt x="52387" y="57150"/>
                  </a:cubicBezTo>
                  <a:cubicBezTo>
                    <a:pt x="34648" y="45324"/>
                    <a:pt x="19734" y="29260"/>
                    <a:pt x="4762" y="14288"/>
                  </a:cubicBez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180E508-8A29-C21C-19A1-6E6238F5F491}"/>
                </a:ext>
              </a:extLst>
            </p:cNvPr>
            <p:cNvSpPr/>
            <p:nvPr/>
          </p:nvSpPr>
          <p:spPr bwMode="gray">
            <a:xfrm>
              <a:off x="9307833" y="3853632"/>
              <a:ext cx="388932" cy="878697"/>
            </a:xfrm>
            <a:custGeom>
              <a:avLst/>
              <a:gdLst>
                <a:gd name="connsiteX0" fmla="*/ 0 w 514350"/>
                <a:gd name="connsiteY0" fmla="*/ 0 h 1162050"/>
                <a:gd name="connsiteX1" fmla="*/ 19050 w 514350"/>
                <a:gd name="connsiteY1" fmla="*/ 71437 h 1162050"/>
                <a:gd name="connsiteX2" fmla="*/ 33338 w 514350"/>
                <a:gd name="connsiteY2" fmla="*/ 119062 h 1162050"/>
                <a:gd name="connsiteX3" fmla="*/ 38100 w 514350"/>
                <a:gd name="connsiteY3" fmla="*/ 133350 h 1162050"/>
                <a:gd name="connsiteX4" fmla="*/ 42863 w 514350"/>
                <a:gd name="connsiteY4" fmla="*/ 161925 h 1162050"/>
                <a:gd name="connsiteX5" fmla="*/ 61913 w 514350"/>
                <a:gd name="connsiteY5" fmla="*/ 271462 h 1162050"/>
                <a:gd name="connsiteX6" fmla="*/ 76200 w 514350"/>
                <a:gd name="connsiteY6" fmla="*/ 290512 h 1162050"/>
                <a:gd name="connsiteX7" fmla="*/ 90488 w 514350"/>
                <a:gd name="connsiteY7" fmla="*/ 319087 h 1162050"/>
                <a:gd name="connsiteX8" fmla="*/ 109538 w 514350"/>
                <a:gd name="connsiteY8" fmla="*/ 338137 h 1162050"/>
                <a:gd name="connsiteX9" fmla="*/ 128588 w 514350"/>
                <a:gd name="connsiteY9" fmla="*/ 366712 h 1162050"/>
                <a:gd name="connsiteX10" fmla="*/ 147638 w 514350"/>
                <a:gd name="connsiteY10" fmla="*/ 404812 h 1162050"/>
                <a:gd name="connsiteX11" fmla="*/ 166688 w 514350"/>
                <a:gd name="connsiteY11" fmla="*/ 471487 h 1162050"/>
                <a:gd name="connsiteX12" fmla="*/ 176213 w 514350"/>
                <a:gd name="connsiteY12" fmla="*/ 490537 h 1162050"/>
                <a:gd name="connsiteX13" fmla="*/ 200025 w 514350"/>
                <a:gd name="connsiteY13" fmla="*/ 538162 h 1162050"/>
                <a:gd name="connsiteX14" fmla="*/ 204788 w 514350"/>
                <a:gd name="connsiteY14" fmla="*/ 614362 h 1162050"/>
                <a:gd name="connsiteX15" fmla="*/ 219075 w 514350"/>
                <a:gd name="connsiteY15" fmla="*/ 633412 h 1162050"/>
                <a:gd name="connsiteX16" fmla="*/ 228600 w 514350"/>
                <a:gd name="connsiteY16" fmla="*/ 652462 h 1162050"/>
                <a:gd name="connsiteX17" fmla="*/ 233363 w 514350"/>
                <a:gd name="connsiteY17" fmla="*/ 666750 h 1162050"/>
                <a:gd name="connsiteX18" fmla="*/ 247650 w 514350"/>
                <a:gd name="connsiteY18" fmla="*/ 681037 h 1162050"/>
                <a:gd name="connsiteX19" fmla="*/ 257175 w 514350"/>
                <a:gd name="connsiteY19" fmla="*/ 695325 h 1162050"/>
                <a:gd name="connsiteX20" fmla="*/ 271463 w 514350"/>
                <a:gd name="connsiteY20" fmla="*/ 728662 h 1162050"/>
                <a:gd name="connsiteX21" fmla="*/ 285750 w 514350"/>
                <a:gd name="connsiteY21" fmla="*/ 766762 h 1162050"/>
                <a:gd name="connsiteX22" fmla="*/ 319088 w 514350"/>
                <a:gd name="connsiteY22" fmla="*/ 790575 h 1162050"/>
                <a:gd name="connsiteX23" fmla="*/ 357188 w 514350"/>
                <a:gd name="connsiteY23" fmla="*/ 852487 h 1162050"/>
                <a:gd name="connsiteX24" fmla="*/ 361950 w 514350"/>
                <a:gd name="connsiteY24" fmla="*/ 947737 h 1162050"/>
                <a:gd name="connsiteX25" fmla="*/ 376238 w 514350"/>
                <a:gd name="connsiteY25" fmla="*/ 957262 h 1162050"/>
                <a:gd name="connsiteX26" fmla="*/ 385763 w 514350"/>
                <a:gd name="connsiteY26" fmla="*/ 985837 h 1162050"/>
                <a:gd name="connsiteX27" fmla="*/ 428625 w 514350"/>
                <a:gd name="connsiteY27" fmla="*/ 1047750 h 1162050"/>
                <a:gd name="connsiteX28" fmla="*/ 438150 w 514350"/>
                <a:gd name="connsiteY28" fmla="*/ 1062037 h 1162050"/>
                <a:gd name="connsiteX29" fmla="*/ 452438 w 514350"/>
                <a:gd name="connsiteY29" fmla="*/ 1071562 h 1162050"/>
                <a:gd name="connsiteX30" fmla="*/ 481013 w 514350"/>
                <a:gd name="connsiteY30" fmla="*/ 1119187 h 1162050"/>
                <a:gd name="connsiteX31" fmla="*/ 490538 w 514350"/>
                <a:gd name="connsiteY31" fmla="*/ 1133475 h 1162050"/>
                <a:gd name="connsiteX32" fmla="*/ 504825 w 514350"/>
                <a:gd name="connsiteY32" fmla="*/ 1147762 h 1162050"/>
                <a:gd name="connsiteX33" fmla="*/ 514350 w 514350"/>
                <a:gd name="connsiteY33" fmla="*/ 1162050 h 116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14350" h="1162050">
                  <a:moveTo>
                    <a:pt x="0" y="0"/>
                  </a:moveTo>
                  <a:cubicBezTo>
                    <a:pt x="24352" y="40584"/>
                    <a:pt x="10169" y="9272"/>
                    <a:pt x="19050" y="71437"/>
                  </a:cubicBezTo>
                  <a:cubicBezTo>
                    <a:pt x="20849" y="84029"/>
                    <a:pt x="30025" y="109124"/>
                    <a:pt x="33338" y="119062"/>
                  </a:cubicBezTo>
                  <a:cubicBezTo>
                    <a:pt x="34925" y="123825"/>
                    <a:pt x="37275" y="128398"/>
                    <a:pt x="38100" y="133350"/>
                  </a:cubicBezTo>
                  <a:lnTo>
                    <a:pt x="42863" y="161925"/>
                  </a:lnTo>
                  <a:cubicBezTo>
                    <a:pt x="44546" y="185484"/>
                    <a:pt x="43385" y="246757"/>
                    <a:pt x="61913" y="271462"/>
                  </a:cubicBezTo>
                  <a:lnTo>
                    <a:pt x="76200" y="290512"/>
                  </a:lnTo>
                  <a:cubicBezTo>
                    <a:pt x="80810" y="304341"/>
                    <a:pt x="80416" y="307337"/>
                    <a:pt x="90488" y="319087"/>
                  </a:cubicBezTo>
                  <a:cubicBezTo>
                    <a:pt x="96332" y="325905"/>
                    <a:pt x="103928" y="331125"/>
                    <a:pt x="109538" y="338137"/>
                  </a:cubicBezTo>
                  <a:cubicBezTo>
                    <a:pt x="116689" y="347076"/>
                    <a:pt x="128588" y="366712"/>
                    <a:pt x="128588" y="366712"/>
                  </a:cubicBezTo>
                  <a:cubicBezTo>
                    <a:pt x="145422" y="417222"/>
                    <a:pt x="113904" y="326100"/>
                    <a:pt x="147638" y="404812"/>
                  </a:cubicBezTo>
                  <a:cubicBezTo>
                    <a:pt x="190703" y="505297"/>
                    <a:pt x="144879" y="406064"/>
                    <a:pt x="166688" y="471487"/>
                  </a:cubicBezTo>
                  <a:cubicBezTo>
                    <a:pt x="168933" y="478222"/>
                    <a:pt x="173330" y="484049"/>
                    <a:pt x="176213" y="490537"/>
                  </a:cubicBezTo>
                  <a:cubicBezTo>
                    <a:pt x="194732" y="532204"/>
                    <a:pt x="175324" y="496993"/>
                    <a:pt x="200025" y="538162"/>
                  </a:cubicBezTo>
                  <a:cubicBezTo>
                    <a:pt x="201613" y="563562"/>
                    <a:pt x="199797" y="589407"/>
                    <a:pt x="204788" y="614362"/>
                  </a:cubicBezTo>
                  <a:cubicBezTo>
                    <a:pt x="206345" y="622145"/>
                    <a:pt x="214868" y="626681"/>
                    <a:pt x="219075" y="633412"/>
                  </a:cubicBezTo>
                  <a:cubicBezTo>
                    <a:pt x="222838" y="639432"/>
                    <a:pt x="225803" y="645937"/>
                    <a:pt x="228600" y="652462"/>
                  </a:cubicBezTo>
                  <a:cubicBezTo>
                    <a:pt x="230578" y="657076"/>
                    <a:pt x="230578" y="662573"/>
                    <a:pt x="233363" y="666750"/>
                  </a:cubicBezTo>
                  <a:cubicBezTo>
                    <a:pt x="237099" y="672354"/>
                    <a:pt x="243338" y="675863"/>
                    <a:pt x="247650" y="681037"/>
                  </a:cubicBezTo>
                  <a:cubicBezTo>
                    <a:pt x="251314" y="685434"/>
                    <a:pt x="254000" y="690562"/>
                    <a:pt x="257175" y="695325"/>
                  </a:cubicBezTo>
                  <a:cubicBezTo>
                    <a:pt x="270852" y="750026"/>
                    <a:pt x="251727" y="682609"/>
                    <a:pt x="271463" y="728662"/>
                  </a:cubicBezTo>
                  <a:cubicBezTo>
                    <a:pt x="279011" y="746275"/>
                    <a:pt x="272143" y="750887"/>
                    <a:pt x="285750" y="766762"/>
                  </a:cubicBezTo>
                  <a:cubicBezTo>
                    <a:pt x="289690" y="771359"/>
                    <a:pt x="312393" y="786112"/>
                    <a:pt x="319088" y="790575"/>
                  </a:cubicBezTo>
                  <a:cubicBezTo>
                    <a:pt x="350608" y="843108"/>
                    <a:pt x="337393" y="822796"/>
                    <a:pt x="357188" y="852487"/>
                  </a:cubicBezTo>
                  <a:cubicBezTo>
                    <a:pt x="358775" y="884237"/>
                    <a:pt x="356263" y="916460"/>
                    <a:pt x="361950" y="947737"/>
                  </a:cubicBezTo>
                  <a:cubicBezTo>
                    <a:pt x="362974" y="953369"/>
                    <a:pt x="373204" y="952408"/>
                    <a:pt x="376238" y="957262"/>
                  </a:cubicBezTo>
                  <a:cubicBezTo>
                    <a:pt x="381559" y="965776"/>
                    <a:pt x="381038" y="976978"/>
                    <a:pt x="385763" y="985837"/>
                  </a:cubicBezTo>
                  <a:cubicBezTo>
                    <a:pt x="400168" y="1012847"/>
                    <a:pt x="412620" y="1025343"/>
                    <a:pt x="428625" y="1047750"/>
                  </a:cubicBezTo>
                  <a:cubicBezTo>
                    <a:pt x="431952" y="1052408"/>
                    <a:pt x="434103" y="1057990"/>
                    <a:pt x="438150" y="1062037"/>
                  </a:cubicBezTo>
                  <a:cubicBezTo>
                    <a:pt x="442198" y="1066084"/>
                    <a:pt x="447675" y="1068387"/>
                    <a:pt x="452438" y="1071562"/>
                  </a:cubicBezTo>
                  <a:cubicBezTo>
                    <a:pt x="467083" y="1100852"/>
                    <a:pt x="458024" y="1084703"/>
                    <a:pt x="481013" y="1119187"/>
                  </a:cubicBezTo>
                  <a:cubicBezTo>
                    <a:pt x="484188" y="1123950"/>
                    <a:pt x="486491" y="1129428"/>
                    <a:pt x="490538" y="1133475"/>
                  </a:cubicBezTo>
                  <a:cubicBezTo>
                    <a:pt x="495300" y="1138237"/>
                    <a:pt x="500513" y="1142588"/>
                    <a:pt x="504825" y="1147762"/>
                  </a:cubicBezTo>
                  <a:cubicBezTo>
                    <a:pt x="508489" y="1152159"/>
                    <a:pt x="514350" y="1162050"/>
                    <a:pt x="514350" y="116205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6ED705E-0AFA-4280-754B-775427F0B370}"/>
                </a:ext>
              </a:extLst>
            </p:cNvPr>
            <p:cNvSpPr/>
            <p:nvPr/>
          </p:nvSpPr>
          <p:spPr bwMode="gray">
            <a:xfrm>
              <a:off x="9664353" y="4847567"/>
              <a:ext cx="190864" cy="943518"/>
            </a:xfrm>
            <a:custGeom>
              <a:avLst/>
              <a:gdLst>
                <a:gd name="connsiteX0" fmla="*/ 0 w 252412"/>
                <a:gd name="connsiteY0" fmla="*/ 0 h 1247775"/>
                <a:gd name="connsiteX1" fmla="*/ 14287 w 252412"/>
                <a:gd name="connsiteY1" fmla="*/ 95250 h 1247775"/>
                <a:gd name="connsiteX2" fmla="*/ 23812 w 252412"/>
                <a:gd name="connsiteY2" fmla="*/ 114300 h 1247775"/>
                <a:gd name="connsiteX3" fmla="*/ 28575 w 252412"/>
                <a:gd name="connsiteY3" fmla="*/ 161925 h 1247775"/>
                <a:gd name="connsiteX4" fmla="*/ 42862 w 252412"/>
                <a:gd name="connsiteY4" fmla="*/ 200025 h 1247775"/>
                <a:gd name="connsiteX5" fmla="*/ 47625 w 252412"/>
                <a:gd name="connsiteY5" fmla="*/ 219075 h 1247775"/>
                <a:gd name="connsiteX6" fmla="*/ 52387 w 252412"/>
                <a:gd name="connsiteY6" fmla="*/ 271462 h 1247775"/>
                <a:gd name="connsiteX7" fmla="*/ 57150 w 252412"/>
                <a:gd name="connsiteY7" fmla="*/ 285750 h 1247775"/>
                <a:gd name="connsiteX8" fmla="*/ 76200 w 252412"/>
                <a:gd name="connsiteY8" fmla="*/ 347662 h 1247775"/>
                <a:gd name="connsiteX9" fmla="*/ 85725 w 252412"/>
                <a:gd name="connsiteY9" fmla="*/ 361950 h 1247775"/>
                <a:gd name="connsiteX10" fmla="*/ 100012 w 252412"/>
                <a:gd name="connsiteY10" fmla="*/ 400050 h 1247775"/>
                <a:gd name="connsiteX11" fmla="*/ 104775 w 252412"/>
                <a:gd name="connsiteY11" fmla="*/ 419100 h 1247775"/>
                <a:gd name="connsiteX12" fmla="*/ 114300 w 252412"/>
                <a:gd name="connsiteY12" fmla="*/ 438150 h 1247775"/>
                <a:gd name="connsiteX13" fmla="*/ 123825 w 252412"/>
                <a:gd name="connsiteY13" fmla="*/ 466725 h 1247775"/>
                <a:gd name="connsiteX14" fmla="*/ 128587 w 252412"/>
                <a:gd name="connsiteY14" fmla="*/ 485775 h 1247775"/>
                <a:gd name="connsiteX15" fmla="*/ 138112 w 252412"/>
                <a:gd name="connsiteY15" fmla="*/ 504825 h 1247775"/>
                <a:gd name="connsiteX16" fmla="*/ 142875 w 252412"/>
                <a:gd name="connsiteY16" fmla="*/ 528637 h 1247775"/>
                <a:gd name="connsiteX17" fmla="*/ 147637 w 252412"/>
                <a:gd name="connsiteY17" fmla="*/ 542925 h 1247775"/>
                <a:gd name="connsiteX18" fmla="*/ 142875 w 252412"/>
                <a:gd name="connsiteY18" fmla="*/ 642937 h 1247775"/>
                <a:gd name="connsiteX19" fmla="*/ 128587 w 252412"/>
                <a:gd name="connsiteY19" fmla="*/ 733425 h 1247775"/>
                <a:gd name="connsiteX20" fmla="*/ 119062 w 252412"/>
                <a:gd name="connsiteY20" fmla="*/ 752475 h 1247775"/>
                <a:gd name="connsiteX21" fmla="*/ 114300 w 252412"/>
                <a:gd name="connsiteY21" fmla="*/ 795337 h 1247775"/>
                <a:gd name="connsiteX22" fmla="*/ 104775 w 252412"/>
                <a:gd name="connsiteY22" fmla="*/ 876300 h 1247775"/>
                <a:gd name="connsiteX23" fmla="*/ 100012 w 252412"/>
                <a:gd name="connsiteY23" fmla="*/ 962025 h 1247775"/>
                <a:gd name="connsiteX24" fmla="*/ 109537 w 252412"/>
                <a:gd name="connsiteY24" fmla="*/ 1047750 h 1247775"/>
                <a:gd name="connsiteX25" fmla="*/ 114300 w 252412"/>
                <a:gd name="connsiteY25" fmla="*/ 1062037 h 1247775"/>
                <a:gd name="connsiteX26" fmla="*/ 119062 w 252412"/>
                <a:gd name="connsiteY26" fmla="*/ 1081087 h 1247775"/>
                <a:gd name="connsiteX27" fmla="*/ 123825 w 252412"/>
                <a:gd name="connsiteY27" fmla="*/ 1095375 h 1247775"/>
                <a:gd name="connsiteX28" fmla="*/ 133350 w 252412"/>
                <a:gd name="connsiteY28" fmla="*/ 1133475 h 1247775"/>
                <a:gd name="connsiteX29" fmla="*/ 161925 w 252412"/>
                <a:gd name="connsiteY29" fmla="*/ 1166812 h 1247775"/>
                <a:gd name="connsiteX30" fmla="*/ 195262 w 252412"/>
                <a:gd name="connsiteY30" fmla="*/ 1200150 h 1247775"/>
                <a:gd name="connsiteX31" fmla="*/ 209550 w 252412"/>
                <a:gd name="connsiteY31" fmla="*/ 1214437 h 1247775"/>
                <a:gd name="connsiteX32" fmla="*/ 223837 w 252412"/>
                <a:gd name="connsiteY32" fmla="*/ 1228725 h 1247775"/>
                <a:gd name="connsiteX33" fmla="*/ 252412 w 252412"/>
                <a:gd name="connsiteY33" fmla="*/ 1247775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52412" h="1247775">
                  <a:moveTo>
                    <a:pt x="0" y="0"/>
                  </a:moveTo>
                  <a:cubicBezTo>
                    <a:pt x="4762" y="31750"/>
                    <a:pt x="7739" y="63820"/>
                    <a:pt x="14287" y="95250"/>
                  </a:cubicBezTo>
                  <a:cubicBezTo>
                    <a:pt x="15735" y="102200"/>
                    <a:pt x="22324" y="107358"/>
                    <a:pt x="23812" y="114300"/>
                  </a:cubicBezTo>
                  <a:cubicBezTo>
                    <a:pt x="27155" y="129900"/>
                    <a:pt x="26149" y="146156"/>
                    <a:pt x="28575" y="161925"/>
                  </a:cubicBezTo>
                  <a:cubicBezTo>
                    <a:pt x="29531" y="168137"/>
                    <a:pt x="42559" y="199115"/>
                    <a:pt x="42862" y="200025"/>
                  </a:cubicBezTo>
                  <a:cubicBezTo>
                    <a:pt x="44932" y="206235"/>
                    <a:pt x="46037" y="212725"/>
                    <a:pt x="47625" y="219075"/>
                  </a:cubicBezTo>
                  <a:cubicBezTo>
                    <a:pt x="49212" y="236537"/>
                    <a:pt x="49907" y="254104"/>
                    <a:pt x="52387" y="271462"/>
                  </a:cubicBezTo>
                  <a:cubicBezTo>
                    <a:pt x="53097" y="276432"/>
                    <a:pt x="55771" y="280923"/>
                    <a:pt x="57150" y="285750"/>
                  </a:cubicBezTo>
                  <a:cubicBezTo>
                    <a:pt x="62338" y="303908"/>
                    <a:pt x="67265" y="334259"/>
                    <a:pt x="76200" y="347662"/>
                  </a:cubicBezTo>
                  <a:lnTo>
                    <a:pt x="85725" y="361950"/>
                  </a:lnTo>
                  <a:cubicBezTo>
                    <a:pt x="97946" y="410839"/>
                    <a:pt x="81337" y="350252"/>
                    <a:pt x="100012" y="400050"/>
                  </a:cubicBezTo>
                  <a:cubicBezTo>
                    <a:pt x="102310" y="406179"/>
                    <a:pt x="102477" y="412971"/>
                    <a:pt x="104775" y="419100"/>
                  </a:cubicBezTo>
                  <a:cubicBezTo>
                    <a:pt x="107268" y="425747"/>
                    <a:pt x="111663" y="431558"/>
                    <a:pt x="114300" y="438150"/>
                  </a:cubicBezTo>
                  <a:cubicBezTo>
                    <a:pt x="118029" y="447472"/>
                    <a:pt x="121390" y="456984"/>
                    <a:pt x="123825" y="466725"/>
                  </a:cubicBezTo>
                  <a:cubicBezTo>
                    <a:pt x="125412" y="473075"/>
                    <a:pt x="126289" y="479646"/>
                    <a:pt x="128587" y="485775"/>
                  </a:cubicBezTo>
                  <a:cubicBezTo>
                    <a:pt x="131080" y="492423"/>
                    <a:pt x="134937" y="498475"/>
                    <a:pt x="138112" y="504825"/>
                  </a:cubicBezTo>
                  <a:cubicBezTo>
                    <a:pt x="139700" y="512762"/>
                    <a:pt x="140912" y="520784"/>
                    <a:pt x="142875" y="528637"/>
                  </a:cubicBezTo>
                  <a:cubicBezTo>
                    <a:pt x="144093" y="533507"/>
                    <a:pt x="147637" y="537905"/>
                    <a:pt x="147637" y="542925"/>
                  </a:cubicBezTo>
                  <a:cubicBezTo>
                    <a:pt x="147637" y="576300"/>
                    <a:pt x="145095" y="609636"/>
                    <a:pt x="142875" y="642937"/>
                  </a:cubicBezTo>
                  <a:cubicBezTo>
                    <a:pt x="141878" y="657899"/>
                    <a:pt x="134677" y="721245"/>
                    <a:pt x="128587" y="733425"/>
                  </a:cubicBezTo>
                  <a:lnTo>
                    <a:pt x="119062" y="752475"/>
                  </a:lnTo>
                  <a:cubicBezTo>
                    <a:pt x="117475" y="766762"/>
                    <a:pt x="115663" y="781027"/>
                    <a:pt x="114300" y="795337"/>
                  </a:cubicBezTo>
                  <a:cubicBezTo>
                    <a:pt x="107383" y="867962"/>
                    <a:pt x="113913" y="830605"/>
                    <a:pt x="104775" y="876300"/>
                  </a:cubicBezTo>
                  <a:cubicBezTo>
                    <a:pt x="103187" y="904875"/>
                    <a:pt x="99217" y="933417"/>
                    <a:pt x="100012" y="962025"/>
                  </a:cubicBezTo>
                  <a:cubicBezTo>
                    <a:pt x="100810" y="990765"/>
                    <a:pt x="105471" y="1019288"/>
                    <a:pt x="109537" y="1047750"/>
                  </a:cubicBezTo>
                  <a:cubicBezTo>
                    <a:pt x="110247" y="1052720"/>
                    <a:pt x="112921" y="1057210"/>
                    <a:pt x="114300" y="1062037"/>
                  </a:cubicBezTo>
                  <a:cubicBezTo>
                    <a:pt x="116098" y="1068331"/>
                    <a:pt x="117264" y="1074793"/>
                    <a:pt x="119062" y="1081087"/>
                  </a:cubicBezTo>
                  <a:cubicBezTo>
                    <a:pt x="120441" y="1085914"/>
                    <a:pt x="122504" y="1090532"/>
                    <a:pt x="123825" y="1095375"/>
                  </a:cubicBezTo>
                  <a:cubicBezTo>
                    <a:pt x="127270" y="1108005"/>
                    <a:pt x="128651" y="1121257"/>
                    <a:pt x="133350" y="1133475"/>
                  </a:cubicBezTo>
                  <a:cubicBezTo>
                    <a:pt x="146003" y="1166373"/>
                    <a:pt x="142767" y="1149569"/>
                    <a:pt x="161925" y="1166812"/>
                  </a:cubicBezTo>
                  <a:cubicBezTo>
                    <a:pt x="173606" y="1177325"/>
                    <a:pt x="184149" y="1189037"/>
                    <a:pt x="195262" y="1200150"/>
                  </a:cubicBezTo>
                  <a:lnTo>
                    <a:pt x="209550" y="1214437"/>
                  </a:lnTo>
                  <a:cubicBezTo>
                    <a:pt x="214313" y="1219200"/>
                    <a:pt x="218233" y="1224989"/>
                    <a:pt x="223837" y="1228725"/>
                  </a:cubicBezTo>
                  <a:lnTo>
                    <a:pt x="252412" y="1247775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E2B8C2B-27C9-5F77-BECA-31DFA9CDC372}"/>
                </a:ext>
              </a:extLst>
            </p:cNvPr>
            <p:cNvSpPr/>
            <p:nvPr/>
          </p:nvSpPr>
          <p:spPr bwMode="gray">
            <a:xfrm>
              <a:off x="10528646" y="5196884"/>
              <a:ext cx="140447" cy="158454"/>
            </a:xfrm>
            <a:custGeom>
              <a:avLst/>
              <a:gdLst>
                <a:gd name="connsiteX0" fmla="*/ 0 w 185737"/>
                <a:gd name="connsiteY0" fmla="*/ 0 h 209550"/>
                <a:gd name="connsiteX1" fmla="*/ 19050 w 185737"/>
                <a:gd name="connsiteY1" fmla="*/ 23813 h 209550"/>
                <a:gd name="connsiteX2" fmla="*/ 33337 w 185737"/>
                <a:gd name="connsiteY2" fmla="*/ 61913 h 209550"/>
                <a:gd name="connsiteX3" fmla="*/ 47625 w 185737"/>
                <a:gd name="connsiteY3" fmla="*/ 85725 h 209550"/>
                <a:gd name="connsiteX4" fmla="*/ 57150 w 185737"/>
                <a:gd name="connsiteY4" fmla="*/ 104775 h 209550"/>
                <a:gd name="connsiteX5" fmla="*/ 76200 w 185737"/>
                <a:gd name="connsiteY5" fmla="*/ 123825 h 209550"/>
                <a:gd name="connsiteX6" fmla="*/ 80962 w 185737"/>
                <a:gd name="connsiteY6" fmla="*/ 142875 h 209550"/>
                <a:gd name="connsiteX7" fmla="*/ 100012 w 185737"/>
                <a:gd name="connsiteY7" fmla="*/ 152400 h 209550"/>
                <a:gd name="connsiteX8" fmla="*/ 119062 w 185737"/>
                <a:gd name="connsiteY8" fmla="*/ 166688 h 209550"/>
                <a:gd name="connsiteX9" fmla="*/ 138112 w 185737"/>
                <a:gd name="connsiteY9" fmla="*/ 176213 h 209550"/>
                <a:gd name="connsiteX10" fmla="*/ 157162 w 185737"/>
                <a:gd name="connsiteY10" fmla="*/ 190500 h 209550"/>
                <a:gd name="connsiteX11" fmla="*/ 185737 w 185737"/>
                <a:gd name="connsiteY11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737" h="209550">
                  <a:moveTo>
                    <a:pt x="0" y="0"/>
                  </a:moveTo>
                  <a:cubicBezTo>
                    <a:pt x="6350" y="7938"/>
                    <a:pt x="13411" y="15355"/>
                    <a:pt x="19050" y="23813"/>
                  </a:cubicBezTo>
                  <a:cubicBezTo>
                    <a:pt x="39615" y="54661"/>
                    <a:pt x="19374" y="30496"/>
                    <a:pt x="33337" y="61913"/>
                  </a:cubicBezTo>
                  <a:cubicBezTo>
                    <a:pt x="37096" y="70372"/>
                    <a:pt x="43129" y="77633"/>
                    <a:pt x="47625" y="85725"/>
                  </a:cubicBezTo>
                  <a:cubicBezTo>
                    <a:pt x="51073" y="91931"/>
                    <a:pt x="52890" y="99095"/>
                    <a:pt x="57150" y="104775"/>
                  </a:cubicBezTo>
                  <a:cubicBezTo>
                    <a:pt x="62538" y="111959"/>
                    <a:pt x="69850" y="117475"/>
                    <a:pt x="76200" y="123825"/>
                  </a:cubicBezTo>
                  <a:cubicBezTo>
                    <a:pt x="77787" y="130175"/>
                    <a:pt x="76772" y="137847"/>
                    <a:pt x="80962" y="142875"/>
                  </a:cubicBezTo>
                  <a:cubicBezTo>
                    <a:pt x="85507" y="148329"/>
                    <a:pt x="93992" y="148637"/>
                    <a:pt x="100012" y="152400"/>
                  </a:cubicBezTo>
                  <a:cubicBezTo>
                    <a:pt x="106743" y="156607"/>
                    <a:pt x="112331" y="162481"/>
                    <a:pt x="119062" y="166688"/>
                  </a:cubicBezTo>
                  <a:cubicBezTo>
                    <a:pt x="125082" y="170451"/>
                    <a:pt x="132092" y="172450"/>
                    <a:pt x="138112" y="176213"/>
                  </a:cubicBezTo>
                  <a:cubicBezTo>
                    <a:pt x="144843" y="180420"/>
                    <a:pt x="150659" y="185948"/>
                    <a:pt x="157162" y="190500"/>
                  </a:cubicBezTo>
                  <a:cubicBezTo>
                    <a:pt x="166540" y="197065"/>
                    <a:pt x="185737" y="209550"/>
                    <a:pt x="185737" y="20955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0036594-6881-4D36-0E21-19483B683C73}"/>
                </a:ext>
              </a:extLst>
            </p:cNvPr>
            <p:cNvSpPr/>
            <p:nvPr/>
          </p:nvSpPr>
          <p:spPr bwMode="gray">
            <a:xfrm>
              <a:off x="10719510" y="5211289"/>
              <a:ext cx="212473" cy="54019"/>
            </a:xfrm>
            <a:custGeom>
              <a:avLst/>
              <a:gdLst>
                <a:gd name="connsiteX0" fmla="*/ 0 w 280988"/>
                <a:gd name="connsiteY0" fmla="*/ 71438 h 71438"/>
                <a:gd name="connsiteX1" fmla="*/ 52388 w 280988"/>
                <a:gd name="connsiteY1" fmla="*/ 57150 h 71438"/>
                <a:gd name="connsiteX2" fmla="*/ 95250 w 280988"/>
                <a:gd name="connsiteY2" fmla="*/ 33338 h 71438"/>
                <a:gd name="connsiteX3" fmla="*/ 233363 w 280988"/>
                <a:gd name="connsiteY3" fmla="*/ 23813 h 71438"/>
                <a:gd name="connsiteX4" fmla="*/ 252413 w 280988"/>
                <a:gd name="connsiteY4" fmla="*/ 14288 h 71438"/>
                <a:gd name="connsiteX5" fmla="*/ 271463 w 280988"/>
                <a:gd name="connsiteY5" fmla="*/ 9525 h 71438"/>
                <a:gd name="connsiteX6" fmla="*/ 280988 w 280988"/>
                <a:gd name="connsiteY6" fmla="*/ 0 h 7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988" h="71438">
                  <a:moveTo>
                    <a:pt x="0" y="71438"/>
                  </a:moveTo>
                  <a:cubicBezTo>
                    <a:pt x="25730" y="67762"/>
                    <a:pt x="32554" y="70373"/>
                    <a:pt x="52388" y="57150"/>
                  </a:cubicBezTo>
                  <a:cubicBezTo>
                    <a:pt x="75605" y="41672"/>
                    <a:pt x="70013" y="35632"/>
                    <a:pt x="95250" y="33338"/>
                  </a:cubicBezTo>
                  <a:cubicBezTo>
                    <a:pt x="141208" y="29160"/>
                    <a:pt x="187325" y="26988"/>
                    <a:pt x="233363" y="23813"/>
                  </a:cubicBezTo>
                  <a:cubicBezTo>
                    <a:pt x="239713" y="20638"/>
                    <a:pt x="245766" y="16781"/>
                    <a:pt x="252413" y="14288"/>
                  </a:cubicBezTo>
                  <a:cubicBezTo>
                    <a:pt x="258542" y="11990"/>
                    <a:pt x="265609" y="12452"/>
                    <a:pt x="271463" y="9525"/>
                  </a:cubicBezTo>
                  <a:cubicBezTo>
                    <a:pt x="275479" y="7517"/>
                    <a:pt x="277813" y="3175"/>
                    <a:pt x="280988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9CC81DAE-DACC-5BE0-02A5-D4557DEAB5AD}"/>
                </a:ext>
              </a:extLst>
            </p:cNvPr>
            <p:cNvSpPr/>
            <p:nvPr/>
          </p:nvSpPr>
          <p:spPr bwMode="gray">
            <a:xfrm>
              <a:off x="10957191" y="5103252"/>
              <a:ext cx="79226" cy="100834"/>
            </a:xfrm>
            <a:custGeom>
              <a:avLst/>
              <a:gdLst>
                <a:gd name="connsiteX0" fmla="*/ 0 w 104775"/>
                <a:gd name="connsiteY0" fmla="*/ 133350 h 133350"/>
                <a:gd name="connsiteX1" fmla="*/ 28575 w 104775"/>
                <a:gd name="connsiteY1" fmla="*/ 128588 h 133350"/>
                <a:gd name="connsiteX2" fmla="*/ 71438 w 104775"/>
                <a:gd name="connsiteY2" fmla="*/ 100013 h 133350"/>
                <a:gd name="connsiteX3" fmla="*/ 80963 w 104775"/>
                <a:gd name="connsiteY3" fmla="*/ 85725 h 133350"/>
                <a:gd name="connsiteX4" fmla="*/ 85725 w 104775"/>
                <a:gd name="connsiteY4" fmla="*/ 38100 h 133350"/>
                <a:gd name="connsiteX5" fmla="*/ 95250 w 104775"/>
                <a:gd name="connsiteY5" fmla="*/ 23813 h 133350"/>
                <a:gd name="connsiteX6" fmla="*/ 100013 w 104775"/>
                <a:gd name="connsiteY6" fmla="*/ 9525 h 133350"/>
                <a:gd name="connsiteX7" fmla="*/ 104775 w 104775"/>
                <a:gd name="connsiteY7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133350">
                  <a:moveTo>
                    <a:pt x="0" y="133350"/>
                  </a:moveTo>
                  <a:cubicBezTo>
                    <a:pt x="9525" y="131763"/>
                    <a:pt x="19414" y="131642"/>
                    <a:pt x="28575" y="128588"/>
                  </a:cubicBezTo>
                  <a:cubicBezTo>
                    <a:pt x="48556" y="121928"/>
                    <a:pt x="58865" y="115101"/>
                    <a:pt x="71438" y="100013"/>
                  </a:cubicBezTo>
                  <a:cubicBezTo>
                    <a:pt x="75102" y="95616"/>
                    <a:pt x="77788" y="90488"/>
                    <a:pt x="80963" y="85725"/>
                  </a:cubicBezTo>
                  <a:cubicBezTo>
                    <a:pt x="82550" y="69850"/>
                    <a:pt x="82138" y="53646"/>
                    <a:pt x="85725" y="38100"/>
                  </a:cubicBezTo>
                  <a:cubicBezTo>
                    <a:pt x="87012" y="32523"/>
                    <a:pt x="92690" y="28932"/>
                    <a:pt x="95250" y="23813"/>
                  </a:cubicBezTo>
                  <a:cubicBezTo>
                    <a:pt x="97495" y="19323"/>
                    <a:pt x="98149" y="14186"/>
                    <a:pt x="100013" y="9525"/>
                  </a:cubicBezTo>
                  <a:cubicBezTo>
                    <a:pt x="101331" y="6229"/>
                    <a:pt x="103188" y="3175"/>
                    <a:pt x="104775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8DDAAA81-896D-FC55-EF90-FCAE9A352D85}"/>
                </a:ext>
              </a:extLst>
            </p:cNvPr>
            <p:cNvSpPr/>
            <p:nvPr/>
          </p:nvSpPr>
          <p:spPr bwMode="gray">
            <a:xfrm>
              <a:off x="11137251" y="5103253"/>
              <a:ext cx="122441" cy="90030"/>
            </a:xfrm>
            <a:custGeom>
              <a:avLst/>
              <a:gdLst>
                <a:gd name="connsiteX0" fmla="*/ 0 w 161925"/>
                <a:gd name="connsiteY0" fmla="*/ 119063 h 119063"/>
                <a:gd name="connsiteX1" fmla="*/ 61913 w 161925"/>
                <a:gd name="connsiteY1" fmla="*/ 76200 h 119063"/>
                <a:gd name="connsiteX2" fmla="*/ 90488 w 161925"/>
                <a:gd name="connsiteY2" fmla="*/ 66675 h 119063"/>
                <a:gd name="connsiteX3" fmla="*/ 100013 w 161925"/>
                <a:gd name="connsiteY3" fmla="*/ 52388 h 119063"/>
                <a:gd name="connsiteX4" fmla="*/ 114300 w 161925"/>
                <a:gd name="connsiteY4" fmla="*/ 42863 h 119063"/>
                <a:gd name="connsiteX5" fmla="*/ 142875 w 161925"/>
                <a:gd name="connsiteY5" fmla="*/ 19050 h 119063"/>
                <a:gd name="connsiteX6" fmla="*/ 161925 w 161925"/>
                <a:gd name="connsiteY6" fmla="*/ 0 h 119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925" h="119063">
                  <a:moveTo>
                    <a:pt x="0" y="119063"/>
                  </a:moveTo>
                  <a:cubicBezTo>
                    <a:pt x="24685" y="99864"/>
                    <a:pt x="36001" y="86565"/>
                    <a:pt x="61913" y="76200"/>
                  </a:cubicBezTo>
                  <a:cubicBezTo>
                    <a:pt x="71235" y="72471"/>
                    <a:pt x="90488" y="66675"/>
                    <a:pt x="90488" y="66675"/>
                  </a:cubicBezTo>
                  <a:cubicBezTo>
                    <a:pt x="93663" y="61913"/>
                    <a:pt x="95966" y="56435"/>
                    <a:pt x="100013" y="52388"/>
                  </a:cubicBezTo>
                  <a:cubicBezTo>
                    <a:pt x="104060" y="48341"/>
                    <a:pt x="110636" y="47260"/>
                    <a:pt x="114300" y="42863"/>
                  </a:cubicBezTo>
                  <a:cubicBezTo>
                    <a:pt x="137238" y="15337"/>
                    <a:pt x="107270" y="27952"/>
                    <a:pt x="142875" y="19050"/>
                  </a:cubicBezTo>
                  <a:cubicBezTo>
                    <a:pt x="154369" y="1809"/>
                    <a:pt x="147281" y="7323"/>
                    <a:pt x="161925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625ED5A2-BAF6-857D-1C15-BCE684AA11E4}"/>
                </a:ext>
              </a:extLst>
            </p:cNvPr>
            <p:cNvSpPr/>
            <p:nvPr/>
          </p:nvSpPr>
          <p:spPr bwMode="gray">
            <a:xfrm>
              <a:off x="11032816" y="5142866"/>
              <a:ext cx="108037" cy="46816"/>
            </a:xfrm>
            <a:custGeom>
              <a:avLst/>
              <a:gdLst>
                <a:gd name="connsiteX0" fmla="*/ 0 w 142875"/>
                <a:gd name="connsiteY0" fmla="*/ 0 h 61912"/>
                <a:gd name="connsiteX1" fmla="*/ 23812 w 142875"/>
                <a:gd name="connsiteY1" fmla="*/ 9525 h 61912"/>
                <a:gd name="connsiteX2" fmla="*/ 71437 w 142875"/>
                <a:gd name="connsiteY2" fmla="*/ 33337 h 61912"/>
                <a:gd name="connsiteX3" fmla="*/ 100012 w 142875"/>
                <a:gd name="connsiteY3" fmla="*/ 42862 h 61912"/>
                <a:gd name="connsiteX4" fmla="*/ 114300 w 142875"/>
                <a:gd name="connsiteY4" fmla="*/ 52387 h 61912"/>
                <a:gd name="connsiteX5" fmla="*/ 133350 w 142875"/>
                <a:gd name="connsiteY5" fmla="*/ 57150 h 61912"/>
                <a:gd name="connsiteX6" fmla="*/ 142875 w 142875"/>
                <a:gd name="connsiteY6" fmla="*/ 61912 h 6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61912">
                  <a:moveTo>
                    <a:pt x="0" y="0"/>
                  </a:moveTo>
                  <a:cubicBezTo>
                    <a:pt x="7937" y="3175"/>
                    <a:pt x="16065" y="5910"/>
                    <a:pt x="23812" y="9525"/>
                  </a:cubicBezTo>
                  <a:cubicBezTo>
                    <a:pt x="39896" y="17031"/>
                    <a:pt x="54599" y="27724"/>
                    <a:pt x="71437" y="33337"/>
                  </a:cubicBezTo>
                  <a:lnTo>
                    <a:pt x="100012" y="42862"/>
                  </a:lnTo>
                  <a:cubicBezTo>
                    <a:pt x="104775" y="46037"/>
                    <a:pt x="109039" y="50132"/>
                    <a:pt x="114300" y="52387"/>
                  </a:cubicBezTo>
                  <a:cubicBezTo>
                    <a:pt x="120316" y="54965"/>
                    <a:pt x="127140" y="55080"/>
                    <a:pt x="133350" y="57150"/>
                  </a:cubicBezTo>
                  <a:cubicBezTo>
                    <a:pt x="136718" y="58273"/>
                    <a:pt x="139700" y="60325"/>
                    <a:pt x="142875" y="61912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E6B50B9-F4BA-2941-26DA-2C1BA2E3DED3}"/>
                </a:ext>
              </a:extLst>
            </p:cNvPr>
            <p:cNvSpPr/>
            <p:nvPr/>
          </p:nvSpPr>
          <p:spPr bwMode="gray">
            <a:xfrm>
              <a:off x="11194871" y="5294117"/>
              <a:ext cx="61244" cy="410539"/>
            </a:xfrm>
            <a:custGeom>
              <a:avLst/>
              <a:gdLst>
                <a:gd name="connsiteX0" fmla="*/ 14288 w 80993"/>
                <a:gd name="connsiteY0" fmla="*/ 0 h 542925"/>
                <a:gd name="connsiteX1" fmla="*/ 19050 w 80993"/>
                <a:gd name="connsiteY1" fmla="*/ 52387 h 542925"/>
                <a:gd name="connsiteX2" fmla="*/ 14288 w 80993"/>
                <a:gd name="connsiteY2" fmla="*/ 119062 h 542925"/>
                <a:gd name="connsiteX3" fmla="*/ 0 w 80993"/>
                <a:gd name="connsiteY3" fmla="*/ 190500 h 542925"/>
                <a:gd name="connsiteX4" fmla="*/ 4763 w 80993"/>
                <a:gd name="connsiteY4" fmla="*/ 271462 h 542925"/>
                <a:gd name="connsiteX5" fmla="*/ 14288 w 80993"/>
                <a:gd name="connsiteY5" fmla="*/ 285750 h 542925"/>
                <a:gd name="connsiteX6" fmla="*/ 42863 w 80993"/>
                <a:gd name="connsiteY6" fmla="*/ 314325 h 542925"/>
                <a:gd name="connsiteX7" fmla="*/ 71438 w 80993"/>
                <a:gd name="connsiteY7" fmla="*/ 357187 h 542925"/>
                <a:gd name="connsiteX8" fmla="*/ 76200 w 80993"/>
                <a:gd name="connsiteY8" fmla="*/ 542925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993" h="542925">
                  <a:moveTo>
                    <a:pt x="14288" y="0"/>
                  </a:moveTo>
                  <a:cubicBezTo>
                    <a:pt x="15875" y="17462"/>
                    <a:pt x="19050" y="34853"/>
                    <a:pt x="19050" y="52387"/>
                  </a:cubicBezTo>
                  <a:cubicBezTo>
                    <a:pt x="19050" y="74669"/>
                    <a:pt x="16842" y="96927"/>
                    <a:pt x="14288" y="119062"/>
                  </a:cubicBezTo>
                  <a:cubicBezTo>
                    <a:pt x="8809" y="166552"/>
                    <a:pt x="9604" y="161689"/>
                    <a:pt x="0" y="190500"/>
                  </a:cubicBezTo>
                  <a:cubicBezTo>
                    <a:pt x="1588" y="217487"/>
                    <a:pt x="753" y="244727"/>
                    <a:pt x="4763" y="271462"/>
                  </a:cubicBezTo>
                  <a:cubicBezTo>
                    <a:pt x="5612" y="277123"/>
                    <a:pt x="10485" y="281472"/>
                    <a:pt x="14288" y="285750"/>
                  </a:cubicBezTo>
                  <a:cubicBezTo>
                    <a:pt x="23237" y="295818"/>
                    <a:pt x="34781" y="303549"/>
                    <a:pt x="42863" y="314325"/>
                  </a:cubicBezTo>
                  <a:cubicBezTo>
                    <a:pt x="62704" y="340780"/>
                    <a:pt x="53066" y="326569"/>
                    <a:pt x="71438" y="357187"/>
                  </a:cubicBezTo>
                  <a:cubicBezTo>
                    <a:pt x="89675" y="430141"/>
                    <a:pt x="76200" y="369692"/>
                    <a:pt x="76200" y="54292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8D35C62-6E05-AA9D-B23E-F5A19BDFE5E1}"/>
                </a:ext>
              </a:extLst>
            </p:cNvPr>
            <p:cNvSpPr/>
            <p:nvPr/>
          </p:nvSpPr>
          <p:spPr bwMode="gray">
            <a:xfrm>
              <a:off x="10784332" y="5549804"/>
              <a:ext cx="450153" cy="208870"/>
            </a:xfrm>
            <a:custGeom>
              <a:avLst/>
              <a:gdLst>
                <a:gd name="connsiteX0" fmla="*/ 0 w 595313"/>
                <a:gd name="connsiteY0" fmla="*/ 276225 h 276225"/>
                <a:gd name="connsiteX1" fmla="*/ 61913 w 595313"/>
                <a:gd name="connsiteY1" fmla="*/ 257175 h 276225"/>
                <a:gd name="connsiteX2" fmla="*/ 80963 w 595313"/>
                <a:gd name="connsiteY2" fmla="*/ 247650 h 276225"/>
                <a:gd name="connsiteX3" fmla="*/ 114300 w 595313"/>
                <a:gd name="connsiteY3" fmla="*/ 242888 h 276225"/>
                <a:gd name="connsiteX4" fmla="*/ 152400 w 595313"/>
                <a:gd name="connsiteY4" fmla="*/ 233363 h 276225"/>
                <a:gd name="connsiteX5" fmla="*/ 252413 w 595313"/>
                <a:gd name="connsiteY5" fmla="*/ 238125 h 276225"/>
                <a:gd name="connsiteX6" fmla="*/ 309563 w 595313"/>
                <a:gd name="connsiteY6" fmla="*/ 242888 h 276225"/>
                <a:gd name="connsiteX7" fmla="*/ 371475 w 595313"/>
                <a:gd name="connsiteY7" fmla="*/ 238125 h 276225"/>
                <a:gd name="connsiteX8" fmla="*/ 381000 w 595313"/>
                <a:gd name="connsiteY8" fmla="*/ 219075 h 276225"/>
                <a:gd name="connsiteX9" fmla="*/ 419100 w 595313"/>
                <a:gd name="connsiteY9" fmla="*/ 190500 h 276225"/>
                <a:gd name="connsiteX10" fmla="*/ 452438 w 595313"/>
                <a:gd name="connsiteY10" fmla="*/ 161925 h 276225"/>
                <a:gd name="connsiteX11" fmla="*/ 457200 w 595313"/>
                <a:gd name="connsiteY11" fmla="*/ 147638 h 276225"/>
                <a:gd name="connsiteX12" fmla="*/ 481013 w 595313"/>
                <a:gd name="connsiteY12" fmla="*/ 114300 h 276225"/>
                <a:gd name="connsiteX13" fmla="*/ 504825 w 595313"/>
                <a:gd name="connsiteY13" fmla="*/ 90488 h 276225"/>
                <a:gd name="connsiteX14" fmla="*/ 514350 w 595313"/>
                <a:gd name="connsiteY14" fmla="*/ 76200 h 276225"/>
                <a:gd name="connsiteX15" fmla="*/ 528638 w 595313"/>
                <a:gd name="connsiteY15" fmla="*/ 66675 h 276225"/>
                <a:gd name="connsiteX16" fmla="*/ 561975 w 595313"/>
                <a:gd name="connsiteY16" fmla="*/ 33338 h 276225"/>
                <a:gd name="connsiteX17" fmla="*/ 576263 w 595313"/>
                <a:gd name="connsiteY17" fmla="*/ 19050 h 276225"/>
                <a:gd name="connsiteX18" fmla="*/ 585788 w 595313"/>
                <a:gd name="connsiteY18" fmla="*/ 4763 h 276225"/>
                <a:gd name="connsiteX19" fmla="*/ 595313 w 595313"/>
                <a:gd name="connsiteY19" fmla="*/ 0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5313" h="276225">
                  <a:moveTo>
                    <a:pt x="0" y="276225"/>
                  </a:moveTo>
                  <a:cubicBezTo>
                    <a:pt x="16443" y="271527"/>
                    <a:pt x="45437" y="263765"/>
                    <a:pt x="61913" y="257175"/>
                  </a:cubicBezTo>
                  <a:cubicBezTo>
                    <a:pt x="68505" y="254538"/>
                    <a:pt x="74114" y="249518"/>
                    <a:pt x="80963" y="247650"/>
                  </a:cubicBezTo>
                  <a:cubicBezTo>
                    <a:pt x="91793" y="244697"/>
                    <a:pt x="103228" y="244733"/>
                    <a:pt x="114300" y="242888"/>
                  </a:cubicBezTo>
                  <a:cubicBezTo>
                    <a:pt x="137285" y="239057"/>
                    <a:pt x="134000" y="239496"/>
                    <a:pt x="152400" y="233363"/>
                  </a:cubicBezTo>
                  <a:lnTo>
                    <a:pt x="252413" y="238125"/>
                  </a:lnTo>
                  <a:cubicBezTo>
                    <a:pt x="271494" y="239281"/>
                    <a:pt x="290447" y="242888"/>
                    <a:pt x="309563" y="242888"/>
                  </a:cubicBezTo>
                  <a:cubicBezTo>
                    <a:pt x="330261" y="242888"/>
                    <a:pt x="350838" y="239713"/>
                    <a:pt x="371475" y="238125"/>
                  </a:cubicBezTo>
                  <a:cubicBezTo>
                    <a:pt x="374650" y="231775"/>
                    <a:pt x="376325" y="224418"/>
                    <a:pt x="381000" y="219075"/>
                  </a:cubicBezTo>
                  <a:cubicBezTo>
                    <a:pt x="391142" y="207485"/>
                    <a:pt x="406570" y="199450"/>
                    <a:pt x="419100" y="190500"/>
                  </a:cubicBezTo>
                  <a:cubicBezTo>
                    <a:pt x="440486" y="175225"/>
                    <a:pt x="435128" y="179235"/>
                    <a:pt x="452438" y="161925"/>
                  </a:cubicBezTo>
                  <a:cubicBezTo>
                    <a:pt x="454025" y="157163"/>
                    <a:pt x="454955" y="152128"/>
                    <a:pt x="457200" y="147638"/>
                  </a:cubicBezTo>
                  <a:cubicBezTo>
                    <a:pt x="460127" y="141783"/>
                    <a:pt x="478545" y="117076"/>
                    <a:pt x="481013" y="114300"/>
                  </a:cubicBezTo>
                  <a:cubicBezTo>
                    <a:pt x="488471" y="105910"/>
                    <a:pt x="497433" y="98936"/>
                    <a:pt x="504825" y="90488"/>
                  </a:cubicBezTo>
                  <a:cubicBezTo>
                    <a:pt x="508594" y="86180"/>
                    <a:pt x="510303" y="80247"/>
                    <a:pt x="514350" y="76200"/>
                  </a:cubicBezTo>
                  <a:cubicBezTo>
                    <a:pt x="518397" y="72153"/>
                    <a:pt x="524383" y="70504"/>
                    <a:pt x="528638" y="66675"/>
                  </a:cubicBezTo>
                  <a:cubicBezTo>
                    <a:pt x="540319" y="56162"/>
                    <a:pt x="550863" y="44450"/>
                    <a:pt x="561975" y="33338"/>
                  </a:cubicBezTo>
                  <a:cubicBezTo>
                    <a:pt x="566738" y="28575"/>
                    <a:pt x="572527" y="24654"/>
                    <a:pt x="576263" y="19050"/>
                  </a:cubicBezTo>
                  <a:cubicBezTo>
                    <a:pt x="579438" y="14288"/>
                    <a:pt x="581741" y="8810"/>
                    <a:pt x="585788" y="4763"/>
                  </a:cubicBezTo>
                  <a:cubicBezTo>
                    <a:pt x="588298" y="2253"/>
                    <a:pt x="592138" y="1588"/>
                    <a:pt x="595313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E802EB64-CEEC-7BE1-34DA-AD124F8717E0}"/>
                </a:ext>
              </a:extLst>
            </p:cNvPr>
            <p:cNvSpPr/>
            <p:nvPr/>
          </p:nvSpPr>
          <p:spPr bwMode="gray">
            <a:xfrm>
              <a:off x="11065227" y="5690251"/>
              <a:ext cx="245572" cy="313305"/>
            </a:xfrm>
            <a:custGeom>
              <a:avLst/>
              <a:gdLst>
                <a:gd name="connsiteX0" fmla="*/ 295275 w 324762"/>
                <a:gd name="connsiteY0" fmla="*/ 414337 h 414337"/>
                <a:gd name="connsiteX1" fmla="*/ 271463 w 324762"/>
                <a:gd name="connsiteY1" fmla="*/ 366712 h 414337"/>
                <a:gd name="connsiteX2" fmla="*/ 261938 w 324762"/>
                <a:gd name="connsiteY2" fmla="*/ 338137 h 414337"/>
                <a:gd name="connsiteX3" fmla="*/ 257175 w 324762"/>
                <a:gd name="connsiteY3" fmla="*/ 323850 h 414337"/>
                <a:gd name="connsiteX4" fmla="*/ 266700 w 324762"/>
                <a:gd name="connsiteY4" fmla="*/ 261937 h 414337"/>
                <a:gd name="connsiteX5" fmla="*/ 285750 w 324762"/>
                <a:gd name="connsiteY5" fmla="*/ 228600 h 414337"/>
                <a:gd name="connsiteX6" fmla="*/ 300038 w 324762"/>
                <a:gd name="connsiteY6" fmla="*/ 200025 h 414337"/>
                <a:gd name="connsiteX7" fmla="*/ 304800 w 324762"/>
                <a:gd name="connsiteY7" fmla="*/ 185737 h 414337"/>
                <a:gd name="connsiteX8" fmla="*/ 314325 w 324762"/>
                <a:gd name="connsiteY8" fmla="*/ 152400 h 414337"/>
                <a:gd name="connsiteX9" fmla="*/ 323850 w 324762"/>
                <a:gd name="connsiteY9" fmla="*/ 138112 h 414337"/>
                <a:gd name="connsiteX10" fmla="*/ 309563 w 324762"/>
                <a:gd name="connsiteY10" fmla="*/ 23812 h 414337"/>
                <a:gd name="connsiteX11" fmla="*/ 295275 w 324762"/>
                <a:gd name="connsiteY11" fmla="*/ 9525 h 414337"/>
                <a:gd name="connsiteX12" fmla="*/ 276225 w 324762"/>
                <a:gd name="connsiteY12" fmla="*/ 0 h 414337"/>
                <a:gd name="connsiteX13" fmla="*/ 176213 w 324762"/>
                <a:gd name="connsiteY13" fmla="*/ 4762 h 414337"/>
                <a:gd name="connsiteX14" fmla="*/ 147638 w 324762"/>
                <a:gd name="connsiteY14" fmla="*/ 19050 h 414337"/>
                <a:gd name="connsiteX15" fmla="*/ 109538 w 324762"/>
                <a:gd name="connsiteY15" fmla="*/ 42862 h 414337"/>
                <a:gd name="connsiteX16" fmla="*/ 80963 w 324762"/>
                <a:gd name="connsiteY16" fmla="*/ 47625 h 414337"/>
                <a:gd name="connsiteX17" fmla="*/ 0 w 324762"/>
                <a:gd name="connsiteY17" fmla="*/ 52387 h 41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4762" h="414337">
                  <a:moveTo>
                    <a:pt x="295275" y="414337"/>
                  </a:moveTo>
                  <a:cubicBezTo>
                    <a:pt x="287338" y="398462"/>
                    <a:pt x="277076" y="383550"/>
                    <a:pt x="271463" y="366712"/>
                  </a:cubicBezTo>
                  <a:lnTo>
                    <a:pt x="261938" y="338137"/>
                  </a:lnTo>
                  <a:lnTo>
                    <a:pt x="257175" y="323850"/>
                  </a:lnTo>
                  <a:cubicBezTo>
                    <a:pt x="260350" y="303212"/>
                    <a:pt x="261918" y="282262"/>
                    <a:pt x="266700" y="261937"/>
                  </a:cubicBezTo>
                  <a:cubicBezTo>
                    <a:pt x="270411" y="246165"/>
                    <a:pt x="279038" y="242024"/>
                    <a:pt x="285750" y="228600"/>
                  </a:cubicBezTo>
                  <a:cubicBezTo>
                    <a:pt x="305468" y="189166"/>
                    <a:pt x="272742" y="240968"/>
                    <a:pt x="300038" y="200025"/>
                  </a:cubicBezTo>
                  <a:cubicBezTo>
                    <a:pt x="301625" y="195262"/>
                    <a:pt x="303357" y="190546"/>
                    <a:pt x="304800" y="185737"/>
                  </a:cubicBezTo>
                  <a:cubicBezTo>
                    <a:pt x="308121" y="174667"/>
                    <a:pt x="310033" y="163130"/>
                    <a:pt x="314325" y="152400"/>
                  </a:cubicBezTo>
                  <a:cubicBezTo>
                    <a:pt x="316451" y="147085"/>
                    <a:pt x="320675" y="142875"/>
                    <a:pt x="323850" y="138112"/>
                  </a:cubicBezTo>
                  <a:cubicBezTo>
                    <a:pt x="322163" y="104363"/>
                    <a:pt x="332539" y="55977"/>
                    <a:pt x="309563" y="23812"/>
                  </a:cubicBezTo>
                  <a:cubicBezTo>
                    <a:pt x="305648" y="18331"/>
                    <a:pt x="300756" y="13440"/>
                    <a:pt x="295275" y="9525"/>
                  </a:cubicBezTo>
                  <a:cubicBezTo>
                    <a:pt x="289498" y="5399"/>
                    <a:pt x="282575" y="3175"/>
                    <a:pt x="276225" y="0"/>
                  </a:cubicBezTo>
                  <a:cubicBezTo>
                    <a:pt x="242888" y="1587"/>
                    <a:pt x="209228" y="-129"/>
                    <a:pt x="176213" y="4762"/>
                  </a:cubicBezTo>
                  <a:cubicBezTo>
                    <a:pt x="165679" y="6323"/>
                    <a:pt x="156770" y="13571"/>
                    <a:pt x="147638" y="19050"/>
                  </a:cubicBezTo>
                  <a:cubicBezTo>
                    <a:pt x="130035" y="29612"/>
                    <a:pt x="129313" y="36929"/>
                    <a:pt x="109538" y="42862"/>
                  </a:cubicBezTo>
                  <a:cubicBezTo>
                    <a:pt x="100289" y="45637"/>
                    <a:pt x="90464" y="45898"/>
                    <a:pt x="80963" y="47625"/>
                  </a:cubicBezTo>
                  <a:cubicBezTo>
                    <a:pt x="34226" y="56123"/>
                    <a:pt x="75232" y="52387"/>
                    <a:pt x="0" y="5238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88FBA2E-9654-B455-1F98-DEB2C80C43AA}"/>
                </a:ext>
              </a:extLst>
            </p:cNvPr>
            <p:cNvSpPr/>
            <p:nvPr/>
          </p:nvSpPr>
          <p:spPr bwMode="gray">
            <a:xfrm>
              <a:off x="10035279" y="5794685"/>
              <a:ext cx="939918" cy="471760"/>
            </a:xfrm>
            <a:custGeom>
              <a:avLst/>
              <a:gdLst>
                <a:gd name="connsiteX0" fmla="*/ 0 w 1243013"/>
                <a:gd name="connsiteY0" fmla="*/ 0 h 623888"/>
                <a:gd name="connsiteX1" fmla="*/ 4763 w 1243013"/>
                <a:gd name="connsiteY1" fmla="*/ 42863 h 623888"/>
                <a:gd name="connsiteX2" fmla="*/ 19050 w 1243013"/>
                <a:gd name="connsiteY2" fmla="*/ 52388 h 623888"/>
                <a:gd name="connsiteX3" fmla="*/ 38100 w 1243013"/>
                <a:gd name="connsiteY3" fmla="*/ 76200 h 623888"/>
                <a:gd name="connsiteX4" fmla="*/ 76200 w 1243013"/>
                <a:gd name="connsiteY4" fmla="*/ 123825 h 623888"/>
                <a:gd name="connsiteX5" fmla="*/ 90488 w 1243013"/>
                <a:gd name="connsiteY5" fmla="*/ 138113 h 623888"/>
                <a:gd name="connsiteX6" fmla="*/ 95250 w 1243013"/>
                <a:gd name="connsiteY6" fmla="*/ 152400 h 623888"/>
                <a:gd name="connsiteX7" fmla="*/ 104775 w 1243013"/>
                <a:gd name="connsiteY7" fmla="*/ 166688 h 623888"/>
                <a:gd name="connsiteX8" fmla="*/ 109538 w 1243013"/>
                <a:gd name="connsiteY8" fmla="*/ 185738 h 623888"/>
                <a:gd name="connsiteX9" fmla="*/ 119063 w 1243013"/>
                <a:gd name="connsiteY9" fmla="*/ 200025 h 623888"/>
                <a:gd name="connsiteX10" fmla="*/ 133350 w 1243013"/>
                <a:gd name="connsiteY10" fmla="*/ 223838 h 623888"/>
                <a:gd name="connsiteX11" fmla="*/ 142875 w 1243013"/>
                <a:gd name="connsiteY11" fmla="*/ 257175 h 623888"/>
                <a:gd name="connsiteX12" fmla="*/ 152400 w 1243013"/>
                <a:gd name="connsiteY12" fmla="*/ 271463 h 623888"/>
                <a:gd name="connsiteX13" fmla="*/ 176213 w 1243013"/>
                <a:gd name="connsiteY13" fmla="*/ 309563 h 623888"/>
                <a:gd name="connsiteX14" fmla="*/ 195263 w 1243013"/>
                <a:gd name="connsiteY14" fmla="*/ 314325 h 623888"/>
                <a:gd name="connsiteX15" fmla="*/ 209550 w 1243013"/>
                <a:gd name="connsiteY15" fmla="*/ 300038 h 623888"/>
                <a:gd name="connsiteX16" fmla="*/ 247650 w 1243013"/>
                <a:gd name="connsiteY16" fmla="*/ 319088 h 623888"/>
                <a:gd name="connsiteX17" fmla="*/ 266700 w 1243013"/>
                <a:gd name="connsiteY17" fmla="*/ 328613 h 623888"/>
                <a:gd name="connsiteX18" fmla="*/ 271463 w 1243013"/>
                <a:gd name="connsiteY18" fmla="*/ 342900 h 623888"/>
                <a:gd name="connsiteX19" fmla="*/ 285750 w 1243013"/>
                <a:gd name="connsiteY19" fmla="*/ 357188 h 623888"/>
                <a:gd name="connsiteX20" fmla="*/ 300038 w 1243013"/>
                <a:gd name="connsiteY20" fmla="*/ 361950 h 623888"/>
                <a:gd name="connsiteX21" fmla="*/ 347663 w 1243013"/>
                <a:gd name="connsiteY21" fmla="*/ 366713 h 623888"/>
                <a:gd name="connsiteX22" fmla="*/ 419100 w 1243013"/>
                <a:gd name="connsiteY22" fmla="*/ 381000 h 623888"/>
                <a:gd name="connsiteX23" fmla="*/ 442913 w 1243013"/>
                <a:gd name="connsiteY23" fmla="*/ 390525 h 623888"/>
                <a:gd name="connsiteX24" fmla="*/ 457200 w 1243013"/>
                <a:gd name="connsiteY24" fmla="*/ 395288 h 623888"/>
                <a:gd name="connsiteX25" fmla="*/ 533400 w 1243013"/>
                <a:gd name="connsiteY25" fmla="*/ 400050 h 623888"/>
                <a:gd name="connsiteX26" fmla="*/ 557213 w 1243013"/>
                <a:gd name="connsiteY26" fmla="*/ 404813 h 623888"/>
                <a:gd name="connsiteX27" fmla="*/ 585788 w 1243013"/>
                <a:gd name="connsiteY27" fmla="*/ 414338 h 623888"/>
                <a:gd name="connsiteX28" fmla="*/ 614363 w 1243013"/>
                <a:gd name="connsiteY28" fmla="*/ 438150 h 623888"/>
                <a:gd name="connsiteX29" fmla="*/ 719138 w 1243013"/>
                <a:gd name="connsiteY29" fmla="*/ 457200 h 623888"/>
                <a:gd name="connsiteX30" fmla="*/ 738188 w 1243013"/>
                <a:gd name="connsiteY30" fmla="*/ 466725 h 623888"/>
                <a:gd name="connsiteX31" fmla="*/ 785813 w 1243013"/>
                <a:gd name="connsiteY31" fmla="*/ 481013 h 623888"/>
                <a:gd name="connsiteX32" fmla="*/ 800100 w 1243013"/>
                <a:gd name="connsiteY32" fmla="*/ 485775 h 623888"/>
                <a:gd name="connsiteX33" fmla="*/ 852488 w 1243013"/>
                <a:gd name="connsiteY33" fmla="*/ 495300 h 623888"/>
                <a:gd name="connsiteX34" fmla="*/ 923925 w 1243013"/>
                <a:gd name="connsiteY34" fmla="*/ 500063 h 623888"/>
                <a:gd name="connsiteX35" fmla="*/ 1042988 w 1243013"/>
                <a:gd name="connsiteY35" fmla="*/ 500063 h 623888"/>
                <a:gd name="connsiteX36" fmla="*/ 1047750 w 1243013"/>
                <a:gd name="connsiteY36" fmla="*/ 485775 h 623888"/>
                <a:gd name="connsiteX37" fmla="*/ 1085850 w 1243013"/>
                <a:gd name="connsiteY37" fmla="*/ 490538 h 623888"/>
                <a:gd name="connsiteX38" fmla="*/ 1104900 w 1243013"/>
                <a:gd name="connsiteY38" fmla="*/ 504825 h 623888"/>
                <a:gd name="connsiteX39" fmla="*/ 1147763 w 1243013"/>
                <a:gd name="connsiteY39" fmla="*/ 528638 h 623888"/>
                <a:gd name="connsiteX40" fmla="*/ 1185863 w 1243013"/>
                <a:gd name="connsiteY40" fmla="*/ 561975 h 623888"/>
                <a:gd name="connsiteX41" fmla="*/ 1200150 w 1243013"/>
                <a:gd name="connsiteY41" fmla="*/ 576263 h 623888"/>
                <a:gd name="connsiteX42" fmla="*/ 1209675 w 1243013"/>
                <a:gd name="connsiteY42" fmla="*/ 590550 h 623888"/>
                <a:gd name="connsiteX43" fmla="*/ 1223963 w 1243013"/>
                <a:gd name="connsiteY43" fmla="*/ 600075 h 623888"/>
                <a:gd name="connsiteX44" fmla="*/ 1243013 w 1243013"/>
                <a:gd name="connsiteY44" fmla="*/ 623888 h 62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243013" h="623888">
                  <a:moveTo>
                    <a:pt x="0" y="0"/>
                  </a:moveTo>
                  <a:cubicBezTo>
                    <a:pt x="1588" y="14288"/>
                    <a:pt x="-150" y="29353"/>
                    <a:pt x="4763" y="42863"/>
                  </a:cubicBezTo>
                  <a:cubicBezTo>
                    <a:pt x="6719" y="48242"/>
                    <a:pt x="15003" y="48341"/>
                    <a:pt x="19050" y="52388"/>
                  </a:cubicBezTo>
                  <a:cubicBezTo>
                    <a:pt x="26238" y="59576"/>
                    <a:pt x="31750" y="68263"/>
                    <a:pt x="38100" y="76200"/>
                  </a:cubicBezTo>
                  <a:cubicBezTo>
                    <a:pt x="47833" y="105397"/>
                    <a:pt x="39313" y="86938"/>
                    <a:pt x="76200" y="123825"/>
                  </a:cubicBezTo>
                  <a:lnTo>
                    <a:pt x="90488" y="138113"/>
                  </a:lnTo>
                  <a:cubicBezTo>
                    <a:pt x="92075" y="142875"/>
                    <a:pt x="93005" y="147910"/>
                    <a:pt x="95250" y="152400"/>
                  </a:cubicBezTo>
                  <a:cubicBezTo>
                    <a:pt x="97810" y="157520"/>
                    <a:pt x="102520" y="161427"/>
                    <a:pt x="104775" y="166688"/>
                  </a:cubicBezTo>
                  <a:cubicBezTo>
                    <a:pt x="107353" y="172704"/>
                    <a:pt x="106960" y="179722"/>
                    <a:pt x="109538" y="185738"/>
                  </a:cubicBezTo>
                  <a:cubicBezTo>
                    <a:pt x="111793" y="190999"/>
                    <a:pt x="116030" y="195171"/>
                    <a:pt x="119063" y="200025"/>
                  </a:cubicBezTo>
                  <a:cubicBezTo>
                    <a:pt x="123969" y="207875"/>
                    <a:pt x="128588" y="215900"/>
                    <a:pt x="133350" y="223838"/>
                  </a:cubicBezTo>
                  <a:cubicBezTo>
                    <a:pt x="134875" y="229937"/>
                    <a:pt x="139460" y="250346"/>
                    <a:pt x="142875" y="257175"/>
                  </a:cubicBezTo>
                  <a:cubicBezTo>
                    <a:pt x="145435" y="262295"/>
                    <a:pt x="149840" y="266343"/>
                    <a:pt x="152400" y="271463"/>
                  </a:cubicBezTo>
                  <a:cubicBezTo>
                    <a:pt x="160893" y="288449"/>
                    <a:pt x="158664" y="299535"/>
                    <a:pt x="176213" y="309563"/>
                  </a:cubicBezTo>
                  <a:cubicBezTo>
                    <a:pt x="181896" y="312810"/>
                    <a:pt x="188913" y="312738"/>
                    <a:pt x="195263" y="314325"/>
                  </a:cubicBezTo>
                  <a:cubicBezTo>
                    <a:pt x="200025" y="309563"/>
                    <a:pt x="202975" y="301499"/>
                    <a:pt x="209550" y="300038"/>
                  </a:cubicBezTo>
                  <a:cubicBezTo>
                    <a:pt x="247020" y="291711"/>
                    <a:pt x="230843" y="305082"/>
                    <a:pt x="247650" y="319088"/>
                  </a:cubicBezTo>
                  <a:cubicBezTo>
                    <a:pt x="253104" y="323633"/>
                    <a:pt x="260350" y="325438"/>
                    <a:pt x="266700" y="328613"/>
                  </a:cubicBezTo>
                  <a:cubicBezTo>
                    <a:pt x="268288" y="333375"/>
                    <a:pt x="268678" y="338723"/>
                    <a:pt x="271463" y="342900"/>
                  </a:cubicBezTo>
                  <a:cubicBezTo>
                    <a:pt x="275199" y="348504"/>
                    <a:pt x="280146" y="353452"/>
                    <a:pt x="285750" y="357188"/>
                  </a:cubicBezTo>
                  <a:cubicBezTo>
                    <a:pt x="289927" y="359973"/>
                    <a:pt x="295076" y="361187"/>
                    <a:pt x="300038" y="361950"/>
                  </a:cubicBezTo>
                  <a:cubicBezTo>
                    <a:pt x="315807" y="364376"/>
                    <a:pt x="331788" y="365125"/>
                    <a:pt x="347663" y="366713"/>
                  </a:cubicBezTo>
                  <a:cubicBezTo>
                    <a:pt x="401326" y="388179"/>
                    <a:pt x="334905" y="364162"/>
                    <a:pt x="419100" y="381000"/>
                  </a:cubicBezTo>
                  <a:cubicBezTo>
                    <a:pt x="427483" y="382677"/>
                    <a:pt x="434908" y="387523"/>
                    <a:pt x="442913" y="390525"/>
                  </a:cubicBezTo>
                  <a:cubicBezTo>
                    <a:pt x="447613" y="392288"/>
                    <a:pt x="452208" y="394762"/>
                    <a:pt x="457200" y="395288"/>
                  </a:cubicBezTo>
                  <a:cubicBezTo>
                    <a:pt x="482510" y="397952"/>
                    <a:pt x="508000" y="398463"/>
                    <a:pt x="533400" y="400050"/>
                  </a:cubicBezTo>
                  <a:cubicBezTo>
                    <a:pt x="541338" y="401638"/>
                    <a:pt x="549403" y="402683"/>
                    <a:pt x="557213" y="404813"/>
                  </a:cubicBezTo>
                  <a:cubicBezTo>
                    <a:pt x="566899" y="407455"/>
                    <a:pt x="585788" y="414338"/>
                    <a:pt x="585788" y="414338"/>
                  </a:cubicBezTo>
                  <a:cubicBezTo>
                    <a:pt x="592978" y="421528"/>
                    <a:pt x="603943" y="434361"/>
                    <a:pt x="614363" y="438150"/>
                  </a:cubicBezTo>
                  <a:cubicBezTo>
                    <a:pt x="643423" y="448717"/>
                    <a:pt x="692360" y="453375"/>
                    <a:pt x="719138" y="457200"/>
                  </a:cubicBezTo>
                  <a:cubicBezTo>
                    <a:pt x="725488" y="460375"/>
                    <a:pt x="731596" y="464088"/>
                    <a:pt x="738188" y="466725"/>
                  </a:cubicBezTo>
                  <a:cubicBezTo>
                    <a:pt x="766474" y="478039"/>
                    <a:pt x="761259" y="473998"/>
                    <a:pt x="785813" y="481013"/>
                  </a:cubicBezTo>
                  <a:cubicBezTo>
                    <a:pt x="790640" y="482392"/>
                    <a:pt x="795230" y="484557"/>
                    <a:pt x="800100" y="485775"/>
                  </a:cubicBezTo>
                  <a:cubicBezTo>
                    <a:pt x="808491" y="487873"/>
                    <a:pt x="845620" y="494646"/>
                    <a:pt x="852488" y="495300"/>
                  </a:cubicBezTo>
                  <a:cubicBezTo>
                    <a:pt x="876246" y="497563"/>
                    <a:pt x="900113" y="498475"/>
                    <a:pt x="923925" y="500063"/>
                  </a:cubicBezTo>
                  <a:cubicBezTo>
                    <a:pt x="969443" y="509166"/>
                    <a:pt x="976833" y="512664"/>
                    <a:pt x="1042988" y="500063"/>
                  </a:cubicBezTo>
                  <a:cubicBezTo>
                    <a:pt x="1047920" y="499124"/>
                    <a:pt x="1046163" y="490538"/>
                    <a:pt x="1047750" y="485775"/>
                  </a:cubicBezTo>
                  <a:cubicBezTo>
                    <a:pt x="1060450" y="487363"/>
                    <a:pt x="1073708" y="486491"/>
                    <a:pt x="1085850" y="490538"/>
                  </a:cubicBezTo>
                  <a:cubicBezTo>
                    <a:pt x="1093380" y="493048"/>
                    <a:pt x="1098441" y="500212"/>
                    <a:pt x="1104900" y="504825"/>
                  </a:cubicBezTo>
                  <a:cubicBezTo>
                    <a:pt x="1122904" y="517684"/>
                    <a:pt x="1123641" y="516576"/>
                    <a:pt x="1147763" y="528638"/>
                  </a:cubicBezTo>
                  <a:cubicBezTo>
                    <a:pt x="1174755" y="569125"/>
                    <a:pt x="1130291" y="506399"/>
                    <a:pt x="1185863" y="561975"/>
                  </a:cubicBezTo>
                  <a:cubicBezTo>
                    <a:pt x="1190625" y="566738"/>
                    <a:pt x="1195838" y="571089"/>
                    <a:pt x="1200150" y="576263"/>
                  </a:cubicBezTo>
                  <a:cubicBezTo>
                    <a:pt x="1203814" y="580660"/>
                    <a:pt x="1205628" y="586503"/>
                    <a:pt x="1209675" y="590550"/>
                  </a:cubicBezTo>
                  <a:cubicBezTo>
                    <a:pt x="1213723" y="594597"/>
                    <a:pt x="1219200" y="596900"/>
                    <a:pt x="1223963" y="600075"/>
                  </a:cubicBezTo>
                  <a:cubicBezTo>
                    <a:pt x="1235979" y="618099"/>
                    <a:pt x="1229441" y="610316"/>
                    <a:pt x="1243013" y="623888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4F076D2C-D8BE-3881-9E94-B68527910435}"/>
                </a:ext>
              </a:extLst>
            </p:cNvPr>
            <p:cNvSpPr/>
            <p:nvPr/>
          </p:nvSpPr>
          <p:spPr bwMode="gray">
            <a:xfrm>
              <a:off x="10060487" y="5830697"/>
              <a:ext cx="1080365" cy="316907"/>
            </a:xfrm>
            <a:custGeom>
              <a:avLst/>
              <a:gdLst>
                <a:gd name="connsiteX0" fmla="*/ 1428750 w 1428750"/>
                <a:gd name="connsiteY0" fmla="*/ 419100 h 419100"/>
                <a:gd name="connsiteX1" fmla="*/ 1414462 w 1428750"/>
                <a:gd name="connsiteY1" fmla="*/ 395288 h 419100"/>
                <a:gd name="connsiteX2" fmla="*/ 1409700 w 1428750"/>
                <a:gd name="connsiteY2" fmla="*/ 381000 h 419100"/>
                <a:gd name="connsiteX3" fmla="*/ 1362075 w 1428750"/>
                <a:gd name="connsiteY3" fmla="*/ 347663 h 419100"/>
                <a:gd name="connsiteX4" fmla="*/ 1347787 w 1428750"/>
                <a:gd name="connsiteY4" fmla="*/ 352425 h 419100"/>
                <a:gd name="connsiteX5" fmla="*/ 1309687 w 1428750"/>
                <a:gd name="connsiteY5" fmla="*/ 390525 h 419100"/>
                <a:gd name="connsiteX6" fmla="*/ 1290637 w 1428750"/>
                <a:gd name="connsiteY6" fmla="*/ 395288 h 419100"/>
                <a:gd name="connsiteX7" fmla="*/ 1209675 w 1428750"/>
                <a:gd name="connsiteY7" fmla="*/ 390525 h 419100"/>
                <a:gd name="connsiteX8" fmla="*/ 1204912 w 1428750"/>
                <a:gd name="connsiteY8" fmla="*/ 376238 h 419100"/>
                <a:gd name="connsiteX9" fmla="*/ 1200150 w 1428750"/>
                <a:gd name="connsiteY9" fmla="*/ 357188 h 419100"/>
                <a:gd name="connsiteX10" fmla="*/ 1166812 w 1428750"/>
                <a:gd name="connsiteY10" fmla="*/ 323850 h 419100"/>
                <a:gd name="connsiteX11" fmla="*/ 1152525 w 1428750"/>
                <a:gd name="connsiteY11" fmla="*/ 319088 h 419100"/>
                <a:gd name="connsiteX12" fmla="*/ 1128712 w 1428750"/>
                <a:gd name="connsiteY12" fmla="*/ 304800 h 419100"/>
                <a:gd name="connsiteX13" fmla="*/ 1090612 w 1428750"/>
                <a:gd name="connsiteY13" fmla="*/ 295275 h 419100"/>
                <a:gd name="connsiteX14" fmla="*/ 1062037 w 1428750"/>
                <a:gd name="connsiteY14" fmla="*/ 266700 h 419100"/>
                <a:gd name="connsiteX15" fmla="*/ 1052512 w 1428750"/>
                <a:gd name="connsiteY15" fmla="*/ 252413 h 419100"/>
                <a:gd name="connsiteX16" fmla="*/ 1023937 w 1428750"/>
                <a:gd name="connsiteY16" fmla="*/ 238125 h 419100"/>
                <a:gd name="connsiteX17" fmla="*/ 857250 w 1428750"/>
                <a:gd name="connsiteY17" fmla="*/ 228600 h 419100"/>
                <a:gd name="connsiteX18" fmla="*/ 828675 w 1428750"/>
                <a:gd name="connsiteY18" fmla="*/ 223838 h 419100"/>
                <a:gd name="connsiteX19" fmla="*/ 800100 w 1428750"/>
                <a:gd name="connsiteY19" fmla="*/ 214313 h 419100"/>
                <a:gd name="connsiteX20" fmla="*/ 776287 w 1428750"/>
                <a:gd name="connsiteY20" fmla="*/ 209550 h 419100"/>
                <a:gd name="connsiteX21" fmla="*/ 762000 w 1428750"/>
                <a:gd name="connsiteY21" fmla="*/ 200025 h 419100"/>
                <a:gd name="connsiteX22" fmla="*/ 752475 w 1428750"/>
                <a:gd name="connsiteY22" fmla="*/ 185738 h 419100"/>
                <a:gd name="connsiteX23" fmla="*/ 723900 w 1428750"/>
                <a:gd name="connsiteY23" fmla="*/ 161925 h 419100"/>
                <a:gd name="connsiteX24" fmla="*/ 709612 w 1428750"/>
                <a:gd name="connsiteY24" fmla="*/ 152400 h 419100"/>
                <a:gd name="connsiteX25" fmla="*/ 685800 w 1428750"/>
                <a:gd name="connsiteY25" fmla="*/ 147638 h 419100"/>
                <a:gd name="connsiteX26" fmla="*/ 666750 w 1428750"/>
                <a:gd name="connsiteY26" fmla="*/ 142875 h 419100"/>
                <a:gd name="connsiteX27" fmla="*/ 595312 w 1428750"/>
                <a:gd name="connsiteY27" fmla="*/ 128588 h 419100"/>
                <a:gd name="connsiteX28" fmla="*/ 557212 w 1428750"/>
                <a:gd name="connsiteY28" fmla="*/ 95250 h 419100"/>
                <a:gd name="connsiteX29" fmla="*/ 538162 w 1428750"/>
                <a:gd name="connsiteY29" fmla="*/ 80963 h 419100"/>
                <a:gd name="connsiteX30" fmla="*/ 523875 w 1428750"/>
                <a:gd name="connsiteY30" fmla="*/ 66675 h 419100"/>
                <a:gd name="connsiteX31" fmla="*/ 495300 w 1428750"/>
                <a:gd name="connsiteY31" fmla="*/ 47625 h 419100"/>
                <a:gd name="connsiteX32" fmla="*/ 466725 w 1428750"/>
                <a:gd name="connsiteY32" fmla="*/ 23813 h 419100"/>
                <a:gd name="connsiteX33" fmla="*/ 452437 w 1428750"/>
                <a:gd name="connsiteY33" fmla="*/ 9525 h 419100"/>
                <a:gd name="connsiteX34" fmla="*/ 419100 w 1428750"/>
                <a:gd name="connsiteY34" fmla="*/ 0 h 419100"/>
                <a:gd name="connsiteX35" fmla="*/ 395287 w 1428750"/>
                <a:gd name="connsiteY35" fmla="*/ 4763 h 419100"/>
                <a:gd name="connsiteX36" fmla="*/ 376237 w 1428750"/>
                <a:gd name="connsiteY36" fmla="*/ 14288 h 419100"/>
                <a:gd name="connsiteX37" fmla="*/ 361950 w 1428750"/>
                <a:gd name="connsiteY37" fmla="*/ 19050 h 419100"/>
                <a:gd name="connsiteX38" fmla="*/ 338137 w 1428750"/>
                <a:gd name="connsiteY38" fmla="*/ 28575 h 419100"/>
                <a:gd name="connsiteX39" fmla="*/ 300037 w 1428750"/>
                <a:gd name="connsiteY39" fmla="*/ 33338 h 419100"/>
                <a:gd name="connsiteX40" fmla="*/ 276225 w 1428750"/>
                <a:gd name="connsiteY40" fmla="*/ 42863 h 419100"/>
                <a:gd name="connsiteX41" fmla="*/ 238125 w 1428750"/>
                <a:gd name="connsiteY41" fmla="*/ 66675 h 419100"/>
                <a:gd name="connsiteX42" fmla="*/ 223837 w 1428750"/>
                <a:gd name="connsiteY42" fmla="*/ 42863 h 419100"/>
                <a:gd name="connsiteX43" fmla="*/ 219075 w 1428750"/>
                <a:gd name="connsiteY43" fmla="*/ 28575 h 419100"/>
                <a:gd name="connsiteX44" fmla="*/ 190500 w 1428750"/>
                <a:gd name="connsiteY44" fmla="*/ 19050 h 419100"/>
                <a:gd name="connsiteX45" fmla="*/ 176212 w 1428750"/>
                <a:gd name="connsiteY45" fmla="*/ 9525 h 419100"/>
                <a:gd name="connsiteX46" fmla="*/ 90487 w 1428750"/>
                <a:gd name="connsiteY46" fmla="*/ 14288 h 419100"/>
                <a:gd name="connsiteX47" fmla="*/ 71437 w 1428750"/>
                <a:gd name="connsiteY47" fmla="*/ 19050 h 419100"/>
                <a:gd name="connsiteX48" fmla="*/ 38100 w 1428750"/>
                <a:gd name="connsiteY48" fmla="*/ 28575 h 419100"/>
                <a:gd name="connsiteX49" fmla="*/ 0 w 1428750"/>
                <a:gd name="connsiteY49" fmla="*/ 38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428750" h="419100">
                  <a:moveTo>
                    <a:pt x="1428750" y="419100"/>
                  </a:moveTo>
                  <a:cubicBezTo>
                    <a:pt x="1423987" y="411163"/>
                    <a:pt x="1418602" y="403567"/>
                    <a:pt x="1414462" y="395288"/>
                  </a:cubicBezTo>
                  <a:cubicBezTo>
                    <a:pt x="1412217" y="390798"/>
                    <a:pt x="1412967" y="384812"/>
                    <a:pt x="1409700" y="381000"/>
                  </a:cubicBezTo>
                  <a:cubicBezTo>
                    <a:pt x="1398745" y="368219"/>
                    <a:pt x="1376313" y="356206"/>
                    <a:pt x="1362075" y="347663"/>
                  </a:cubicBezTo>
                  <a:cubicBezTo>
                    <a:pt x="1357312" y="349250"/>
                    <a:pt x="1351672" y="349246"/>
                    <a:pt x="1347787" y="352425"/>
                  </a:cubicBezTo>
                  <a:cubicBezTo>
                    <a:pt x="1333886" y="363798"/>
                    <a:pt x="1327111" y="386169"/>
                    <a:pt x="1309687" y="390525"/>
                  </a:cubicBezTo>
                  <a:lnTo>
                    <a:pt x="1290637" y="395288"/>
                  </a:lnTo>
                  <a:cubicBezTo>
                    <a:pt x="1263650" y="393700"/>
                    <a:pt x="1236065" y="396389"/>
                    <a:pt x="1209675" y="390525"/>
                  </a:cubicBezTo>
                  <a:cubicBezTo>
                    <a:pt x="1204775" y="389436"/>
                    <a:pt x="1206291" y="381065"/>
                    <a:pt x="1204912" y="376238"/>
                  </a:cubicBezTo>
                  <a:cubicBezTo>
                    <a:pt x="1203114" y="369944"/>
                    <a:pt x="1204000" y="362482"/>
                    <a:pt x="1200150" y="357188"/>
                  </a:cubicBezTo>
                  <a:cubicBezTo>
                    <a:pt x="1190907" y="344478"/>
                    <a:pt x="1181721" y="328819"/>
                    <a:pt x="1166812" y="323850"/>
                  </a:cubicBezTo>
                  <a:cubicBezTo>
                    <a:pt x="1162050" y="322263"/>
                    <a:pt x="1157015" y="321333"/>
                    <a:pt x="1152525" y="319088"/>
                  </a:cubicBezTo>
                  <a:cubicBezTo>
                    <a:pt x="1144245" y="314948"/>
                    <a:pt x="1137352" y="308123"/>
                    <a:pt x="1128712" y="304800"/>
                  </a:cubicBezTo>
                  <a:cubicBezTo>
                    <a:pt x="1116494" y="300101"/>
                    <a:pt x="1090612" y="295275"/>
                    <a:pt x="1090612" y="295275"/>
                  </a:cubicBezTo>
                  <a:cubicBezTo>
                    <a:pt x="1081087" y="285750"/>
                    <a:pt x="1069509" y="277908"/>
                    <a:pt x="1062037" y="266700"/>
                  </a:cubicBezTo>
                  <a:cubicBezTo>
                    <a:pt x="1058862" y="261938"/>
                    <a:pt x="1057091" y="255847"/>
                    <a:pt x="1052512" y="252413"/>
                  </a:cubicBezTo>
                  <a:cubicBezTo>
                    <a:pt x="1043993" y="246023"/>
                    <a:pt x="1034508" y="239414"/>
                    <a:pt x="1023937" y="238125"/>
                  </a:cubicBezTo>
                  <a:cubicBezTo>
                    <a:pt x="968693" y="231388"/>
                    <a:pt x="912812" y="231775"/>
                    <a:pt x="857250" y="228600"/>
                  </a:cubicBezTo>
                  <a:cubicBezTo>
                    <a:pt x="847725" y="227013"/>
                    <a:pt x="838043" y="226180"/>
                    <a:pt x="828675" y="223838"/>
                  </a:cubicBezTo>
                  <a:cubicBezTo>
                    <a:pt x="818935" y="221403"/>
                    <a:pt x="809786" y="216955"/>
                    <a:pt x="800100" y="214313"/>
                  </a:cubicBezTo>
                  <a:cubicBezTo>
                    <a:pt x="792290" y="212183"/>
                    <a:pt x="784225" y="211138"/>
                    <a:pt x="776287" y="209550"/>
                  </a:cubicBezTo>
                  <a:cubicBezTo>
                    <a:pt x="771525" y="206375"/>
                    <a:pt x="766047" y="204072"/>
                    <a:pt x="762000" y="200025"/>
                  </a:cubicBezTo>
                  <a:cubicBezTo>
                    <a:pt x="757953" y="195978"/>
                    <a:pt x="756522" y="189785"/>
                    <a:pt x="752475" y="185738"/>
                  </a:cubicBezTo>
                  <a:cubicBezTo>
                    <a:pt x="743708" y="176971"/>
                    <a:pt x="733687" y="169537"/>
                    <a:pt x="723900" y="161925"/>
                  </a:cubicBezTo>
                  <a:cubicBezTo>
                    <a:pt x="719382" y="158411"/>
                    <a:pt x="714972" y="154410"/>
                    <a:pt x="709612" y="152400"/>
                  </a:cubicBezTo>
                  <a:cubicBezTo>
                    <a:pt x="702033" y="149558"/>
                    <a:pt x="693702" y="149394"/>
                    <a:pt x="685800" y="147638"/>
                  </a:cubicBezTo>
                  <a:cubicBezTo>
                    <a:pt x="679410" y="146218"/>
                    <a:pt x="673155" y="144223"/>
                    <a:pt x="666750" y="142875"/>
                  </a:cubicBezTo>
                  <a:cubicBezTo>
                    <a:pt x="642987" y="137872"/>
                    <a:pt x="619125" y="133350"/>
                    <a:pt x="595312" y="128588"/>
                  </a:cubicBezTo>
                  <a:cubicBezTo>
                    <a:pt x="547269" y="92555"/>
                    <a:pt x="606548" y="138418"/>
                    <a:pt x="557212" y="95250"/>
                  </a:cubicBezTo>
                  <a:cubicBezTo>
                    <a:pt x="551238" y="90023"/>
                    <a:pt x="544188" y="86129"/>
                    <a:pt x="538162" y="80963"/>
                  </a:cubicBezTo>
                  <a:cubicBezTo>
                    <a:pt x="533048" y="76580"/>
                    <a:pt x="529191" y="70810"/>
                    <a:pt x="523875" y="66675"/>
                  </a:cubicBezTo>
                  <a:cubicBezTo>
                    <a:pt x="514839" y="59647"/>
                    <a:pt x="495300" y="47625"/>
                    <a:pt x="495300" y="47625"/>
                  </a:cubicBezTo>
                  <a:cubicBezTo>
                    <a:pt x="476522" y="19459"/>
                    <a:pt x="497487" y="45786"/>
                    <a:pt x="466725" y="23813"/>
                  </a:cubicBezTo>
                  <a:cubicBezTo>
                    <a:pt x="461244" y="19898"/>
                    <a:pt x="458041" y="13261"/>
                    <a:pt x="452437" y="9525"/>
                  </a:cubicBezTo>
                  <a:cubicBezTo>
                    <a:pt x="448340" y="6794"/>
                    <a:pt x="421637" y="634"/>
                    <a:pt x="419100" y="0"/>
                  </a:cubicBezTo>
                  <a:cubicBezTo>
                    <a:pt x="411162" y="1588"/>
                    <a:pt x="402966" y="2203"/>
                    <a:pt x="395287" y="4763"/>
                  </a:cubicBezTo>
                  <a:cubicBezTo>
                    <a:pt x="388552" y="7008"/>
                    <a:pt x="382763" y="11491"/>
                    <a:pt x="376237" y="14288"/>
                  </a:cubicBezTo>
                  <a:cubicBezTo>
                    <a:pt x="371623" y="16265"/>
                    <a:pt x="366650" y="17287"/>
                    <a:pt x="361950" y="19050"/>
                  </a:cubicBezTo>
                  <a:cubicBezTo>
                    <a:pt x="353945" y="22052"/>
                    <a:pt x="346467" y="26653"/>
                    <a:pt x="338137" y="28575"/>
                  </a:cubicBezTo>
                  <a:cubicBezTo>
                    <a:pt x="325666" y="31453"/>
                    <a:pt x="312737" y="31750"/>
                    <a:pt x="300037" y="33338"/>
                  </a:cubicBezTo>
                  <a:cubicBezTo>
                    <a:pt x="292100" y="36513"/>
                    <a:pt x="283871" y="39040"/>
                    <a:pt x="276225" y="42863"/>
                  </a:cubicBezTo>
                  <a:cubicBezTo>
                    <a:pt x="264729" y="48611"/>
                    <a:pt x="249463" y="59116"/>
                    <a:pt x="238125" y="66675"/>
                  </a:cubicBezTo>
                  <a:cubicBezTo>
                    <a:pt x="233362" y="58738"/>
                    <a:pt x="227977" y="51142"/>
                    <a:pt x="223837" y="42863"/>
                  </a:cubicBezTo>
                  <a:cubicBezTo>
                    <a:pt x="221592" y="38373"/>
                    <a:pt x="223160" y="31493"/>
                    <a:pt x="219075" y="28575"/>
                  </a:cubicBezTo>
                  <a:cubicBezTo>
                    <a:pt x="210905" y="22739"/>
                    <a:pt x="199675" y="23128"/>
                    <a:pt x="190500" y="19050"/>
                  </a:cubicBezTo>
                  <a:cubicBezTo>
                    <a:pt x="185269" y="16725"/>
                    <a:pt x="180975" y="12700"/>
                    <a:pt x="176212" y="9525"/>
                  </a:cubicBezTo>
                  <a:cubicBezTo>
                    <a:pt x="147637" y="11113"/>
                    <a:pt x="118989" y="11697"/>
                    <a:pt x="90487" y="14288"/>
                  </a:cubicBezTo>
                  <a:cubicBezTo>
                    <a:pt x="83968" y="14881"/>
                    <a:pt x="77752" y="17328"/>
                    <a:pt x="71437" y="19050"/>
                  </a:cubicBezTo>
                  <a:cubicBezTo>
                    <a:pt x="60287" y="22091"/>
                    <a:pt x="49212" y="25400"/>
                    <a:pt x="38100" y="28575"/>
                  </a:cubicBezTo>
                  <a:cubicBezTo>
                    <a:pt x="17208" y="42503"/>
                    <a:pt x="29536" y="38100"/>
                    <a:pt x="0" y="3810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11B061F-073A-AEF0-AA36-A7D99ACBB7B7}"/>
                </a:ext>
              </a:extLst>
            </p:cNvPr>
            <p:cNvSpPr/>
            <p:nvPr/>
          </p:nvSpPr>
          <p:spPr bwMode="gray">
            <a:xfrm>
              <a:off x="10618676" y="5819894"/>
              <a:ext cx="133245" cy="327710"/>
            </a:xfrm>
            <a:custGeom>
              <a:avLst/>
              <a:gdLst>
                <a:gd name="connsiteX0" fmla="*/ 0 w 176213"/>
                <a:gd name="connsiteY0" fmla="*/ 433387 h 433387"/>
                <a:gd name="connsiteX1" fmla="*/ 23813 w 176213"/>
                <a:gd name="connsiteY1" fmla="*/ 371475 h 433387"/>
                <a:gd name="connsiteX2" fmla="*/ 33338 w 176213"/>
                <a:gd name="connsiteY2" fmla="*/ 352425 h 433387"/>
                <a:gd name="connsiteX3" fmla="*/ 47625 w 176213"/>
                <a:gd name="connsiteY3" fmla="*/ 338137 h 433387"/>
                <a:gd name="connsiteX4" fmla="*/ 71438 w 176213"/>
                <a:gd name="connsiteY4" fmla="*/ 300037 h 433387"/>
                <a:gd name="connsiteX5" fmla="*/ 95250 w 176213"/>
                <a:gd name="connsiteY5" fmla="*/ 266700 h 433387"/>
                <a:gd name="connsiteX6" fmla="*/ 100013 w 176213"/>
                <a:gd name="connsiteY6" fmla="*/ 247650 h 433387"/>
                <a:gd name="connsiteX7" fmla="*/ 104775 w 176213"/>
                <a:gd name="connsiteY7" fmla="*/ 233362 h 433387"/>
                <a:gd name="connsiteX8" fmla="*/ 80963 w 176213"/>
                <a:gd name="connsiteY8" fmla="*/ 195262 h 433387"/>
                <a:gd name="connsiteX9" fmla="*/ 71438 w 176213"/>
                <a:gd name="connsiteY9" fmla="*/ 176212 h 433387"/>
                <a:gd name="connsiteX10" fmla="*/ 76200 w 176213"/>
                <a:gd name="connsiteY10" fmla="*/ 133350 h 433387"/>
                <a:gd name="connsiteX11" fmla="*/ 119063 w 176213"/>
                <a:gd name="connsiteY11" fmla="*/ 80962 h 433387"/>
                <a:gd name="connsiteX12" fmla="*/ 157163 w 176213"/>
                <a:gd name="connsiteY12" fmla="*/ 19050 h 433387"/>
                <a:gd name="connsiteX13" fmla="*/ 176213 w 176213"/>
                <a:gd name="connsiteY13" fmla="*/ 0 h 43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6213" h="433387">
                  <a:moveTo>
                    <a:pt x="0" y="433387"/>
                  </a:moveTo>
                  <a:cubicBezTo>
                    <a:pt x="7938" y="412750"/>
                    <a:pt x="13925" y="391252"/>
                    <a:pt x="23813" y="371475"/>
                  </a:cubicBezTo>
                  <a:cubicBezTo>
                    <a:pt x="26988" y="365125"/>
                    <a:pt x="29212" y="358202"/>
                    <a:pt x="33338" y="352425"/>
                  </a:cubicBezTo>
                  <a:cubicBezTo>
                    <a:pt x="37253" y="346944"/>
                    <a:pt x="42863" y="342900"/>
                    <a:pt x="47625" y="338137"/>
                  </a:cubicBezTo>
                  <a:cubicBezTo>
                    <a:pt x="57429" y="308728"/>
                    <a:pt x="45553" y="338864"/>
                    <a:pt x="71438" y="300037"/>
                  </a:cubicBezTo>
                  <a:cubicBezTo>
                    <a:pt x="96511" y="262427"/>
                    <a:pt x="64051" y="297899"/>
                    <a:pt x="95250" y="266700"/>
                  </a:cubicBezTo>
                  <a:cubicBezTo>
                    <a:pt x="96838" y="260350"/>
                    <a:pt x="98215" y="253944"/>
                    <a:pt x="100013" y="247650"/>
                  </a:cubicBezTo>
                  <a:cubicBezTo>
                    <a:pt x="101392" y="242823"/>
                    <a:pt x="104775" y="238382"/>
                    <a:pt x="104775" y="233362"/>
                  </a:cubicBezTo>
                  <a:cubicBezTo>
                    <a:pt x="104775" y="209100"/>
                    <a:pt x="95120" y="214138"/>
                    <a:pt x="80963" y="195262"/>
                  </a:cubicBezTo>
                  <a:cubicBezTo>
                    <a:pt x="76703" y="189582"/>
                    <a:pt x="74613" y="182562"/>
                    <a:pt x="71438" y="176212"/>
                  </a:cubicBezTo>
                  <a:cubicBezTo>
                    <a:pt x="73025" y="161925"/>
                    <a:pt x="70727" y="146642"/>
                    <a:pt x="76200" y="133350"/>
                  </a:cubicBezTo>
                  <a:cubicBezTo>
                    <a:pt x="83810" y="114868"/>
                    <a:pt x="104159" y="95866"/>
                    <a:pt x="119063" y="80962"/>
                  </a:cubicBezTo>
                  <a:cubicBezTo>
                    <a:pt x="137510" y="34845"/>
                    <a:pt x="117839" y="78038"/>
                    <a:pt x="157163" y="19050"/>
                  </a:cubicBezTo>
                  <a:cubicBezTo>
                    <a:pt x="168657" y="1808"/>
                    <a:pt x="161568" y="7322"/>
                    <a:pt x="176213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559CED9-1394-54F7-A161-9D4CB0E4C427}"/>
                </a:ext>
              </a:extLst>
            </p:cNvPr>
            <p:cNvSpPr/>
            <p:nvPr/>
          </p:nvSpPr>
          <p:spPr bwMode="gray">
            <a:xfrm>
              <a:off x="10136112" y="6162010"/>
              <a:ext cx="471760" cy="262889"/>
            </a:xfrm>
            <a:custGeom>
              <a:avLst/>
              <a:gdLst>
                <a:gd name="connsiteX0" fmla="*/ 0 w 623888"/>
                <a:gd name="connsiteY0" fmla="*/ 347663 h 347663"/>
                <a:gd name="connsiteX1" fmla="*/ 38100 w 623888"/>
                <a:gd name="connsiteY1" fmla="*/ 304800 h 347663"/>
                <a:gd name="connsiteX2" fmla="*/ 85725 w 623888"/>
                <a:gd name="connsiteY2" fmla="*/ 276225 h 347663"/>
                <a:gd name="connsiteX3" fmla="*/ 133350 w 623888"/>
                <a:gd name="connsiteY3" fmla="*/ 252413 h 347663"/>
                <a:gd name="connsiteX4" fmla="*/ 157163 w 623888"/>
                <a:gd name="connsiteY4" fmla="*/ 247650 h 347663"/>
                <a:gd name="connsiteX5" fmla="*/ 171450 w 623888"/>
                <a:gd name="connsiteY5" fmla="*/ 242888 h 347663"/>
                <a:gd name="connsiteX6" fmla="*/ 180975 w 623888"/>
                <a:gd name="connsiteY6" fmla="*/ 228600 h 347663"/>
                <a:gd name="connsiteX7" fmla="*/ 195263 w 623888"/>
                <a:gd name="connsiteY7" fmla="*/ 204788 h 347663"/>
                <a:gd name="connsiteX8" fmla="*/ 214313 w 623888"/>
                <a:gd name="connsiteY8" fmla="*/ 195263 h 347663"/>
                <a:gd name="connsiteX9" fmla="*/ 247650 w 623888"/>
                <a:gd name="connsiteY9" fmla="*/ 171450 h 347663"/>
                <a:gd name="connsiteX10" fmla="*/ 266700 w 623888"/>
                <a:gd name="connsiteY10" fmla="*/ 166688 h 347663"/>
                <a:gd name="connsiteX11" fmla="*/ 280988 w 623888"/>
                <a:gd name="connsiteY11" fmla="*/ 157163 h 347663"/>
                <a:gd name="connsiteX12" fmla="*/ 504825 w 623888"/>
                <a:gd name="connsiteY12" fmla="*/ 138113 h 347663"/>
                <a:gd name="connsiteX13" fmla="*/ 523875 w 623888"/>
                <a:gd name="connsiteY13" fmla="*/ 123825 h 347663"/>
                <a:gd name="connsiteX14" fmla="*/ 538163 w 623888"/>
                <a:gd name="connsiteY14" fmla="*/ 109538 h 347663"/>
                <a:gd name="connsiteX15" fmla="*/ 552450 w 623888"/>
                <a:gd name="connsiteY15" fmla="*/ 100013 h 347663"/>
                <a:gd name="connsiteX16" fmla="*/ 571500 w 623888"/>
                <a:gd name="connsiteY16" fmla="*/ 85725 h 347663"/>
                <a:gd name="connsiteX17" fmla="*/ 585788 w 623888"/>
                <a:gd name="connsiteY17" fmla="*/ 80963 h 347663"/>
                <a:gd name="connsiteX18" fmla="*/ 595313 w 623888"/>
                <a:gd name="connsiteY18" fmla="*/ 61913 h 347663"/>
                <a:gd name="connsiteX19" fmla="*/ 590550 w 623888"/>
                <a:gd name="connsiteY19" fmla="*/ 47625 h 347663"/>
                <a:gd name="connsiteX20" fmla="*/ 595313 w 623888"/>
                <a:gd name="connsiteY20" fmla="*/ 19050 h 347663"/>
                <a:gd name="connsiteX21" fmla="*/ 609600 w 623888"/>
                <a:gd name="connsiteY21" fmla="*/ 4763 h 347663"/>
                <a:gd name="connsiteX22" fmla="*/ 623888 w 623888"/>
                <a:gd name="connsiteY22" fmla="*/ 0 h 347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888" h="347663">
                  <a:moveTo>
                    <a:pt x="0" y="347663"/>
                  </a:moveTo>
                  <a:cubicBezTo>
                    <a:pt x="13184" y="314702"/>
                    <a:pt x="3205" y="326610"/>
                    <a:pt x="38100" y="304800"/>
                  </a:cubicBezTo>
                  <a:cubicBezTo>
                    <a:pt x="53799" y="294988"/>
                    <a:pt x="69850" y="285750"/>
                    <a:pt x="85725" y="276225"/>
                  </a:cubicBezTo>
                  <a:cubicBezTo>
                    <a:pt x="105169" y="264559"/>
                    <a:pt x="111748" y="258894"/>
                    <a:pt x="133350" y="252413"/>
                  </a:cubicBezTo>
                  <a:cubicBezTo>
                    <a:pt x="141103" y="250087"/>
                    <a:pt x="149310" y="249613"/>
                    <a:pt x="157163" y="247650"/>
                  </a:cubicBezTo>
                  <a:cubicBezTo>
                    <a:pt x="162033" y="246432"/>
                    <a:pt x="166688" y="244475"/>
                    <a:pt x="171450" y="242888"/>
                  </a:cubicBezTo>
                  <a:cubicBezTo>
                    <a:pt x="174625" y="238125"/>
                    <a:pt x="177941" y="233454"/>
                    <a:pt x="180975" y="228600"/>
                  </a:cubicBezTo>
                  <a:cubicBezTo>
                    <a:pt x="185881" y="220750"/>
                    <a:pt x="188718" y="211333"/>
                    <a:pt x="195263" y="204788"/>
                  </a:cubicBezTo>
                  <a:cubicBezTo>
                    <a:pt x="200283" y="199768"/>
                    <a:pt x="208293" y="199026"/>
                    <a:pt x="214313" y="195263"/>
                  </a:cubicBezTo>
                  <a:cubicBezTo>
                    <a:pt x="217860" y="193046"/>
                    <a:pt x="241240" y="174197"/>
                    <a:pt x="247650" y="171450"/>
                  </a:cubicBezTo>
                  <a:cubicBezTo>
                    <a:pt x="253666" y="168872"/>
                    <a:pt x="260350" y="168275"/>
                    <a:pt x="266700" y="166688"/>
                  </a:cubicBezTo>
                  <a:cubicBezTo>
                    <a:pt x="271463" y="163513"/>
                    <a:pt x="275868" y="159723"/>
                    <a:pt x="280988" y="157163"/>
                  </a:cubicBezTo>
                  <a:cubicBezTo>
                    <a:pt x="346428" y="124443"/>
                    <a:pt x="448269" y="139601"/>
                    <a:pt x="504825" y="138113"/>
                  </a:cubicBezTo>
                  <a:cubicBezTo>
                    <a:pt x="511175" y="133350"/>
                    <a:pt x="517848" y="128991"/>
                    <a:pt x="523875" y="123825"/>
                  </a:cubicBezTo>
                  <a:cubicBezTo>
                    <a:pt x="528989" y="119442"/>
                    <a:pt x="532989" y="113850"/>
                    <a:pt x="538163" y="109538"/>
                  </a:cubicBezTo>
                  <a:cubicBezTo>
                    <a:pt x="542560" y="105874"/>
                    <a:pt x="547793" y="103340"/>
                    <a:pt x="552450" y="100013"/>
                  </a:cubicBezTo>
                  <a:cubicBezTo>
                    <a:pt x="558909" y="95399"/>
                    <a:pt x="564608" y="89663"/>
                    <a:pt x="571500" y="85725"/>
                  </a:cubicBezTo>
                  <a:cubicBezTo>
                    <a:pt x="575859" y="83234"/>
                    <a:pt x="581025" y="82550"/>
                    <a:pt x="585788" y="80963"/>
                  </a:cubicBezTo>
                  <a:cubicBezTo>
                    <a:pt x="588963" y="74613"/>
                    <a:pt x="594309" y="68941"/>
                    <a:pt x="595313" y="61913"/>
                  </a:cubicBezTo>
                  <a:cubicBezTo>
                    <a:pt x="596023" y="56943"/>
                    <a:pt x="590550" y="52645"/>
                    <a:pt x="590550" y="47625"/>
                  </a:cubicBezTo>
                  <a:cubicBezTo>
                    <a:pt x="590550" y="37969"/>
                    <a:pt x="591391" y="27874"/>
                    <a:pt x="595313" y="19050"/>
                  </a:cubicBezTo>
                  <a:cubicBezTo>
                    <a:pt x="598048" y="12896"/>
                    <a:pt x="603996" y="8499"/>
                    <a:pt x="609600" y="4763"/>
                  </a:cubicBezTo>
                  <a:cubicBezTo>
                    <a:pt x="613777" y="1978"/>
                    <a:pt x="623888" y="0"/>
                    <a:pt x="623888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AB45678E-4AD8-8B17-CFE4-DD8C5FE71F49}"/>
                </a:ext>
              </a:extLst>
            </p:cNvPr>
            <p:cNvSpPr/>
            <p:nvPr/>
          </p:nvSpPr>
          <p:spPr bwMode="gray">
            <a:xfrm>
              <a:off x="10640283" y="6107991"/>
              <a:ext cx="126082" cy="259287"/>
            </a:xfrm>
            <a:custGeom>
              <a:avLst/>
              <a:gdLst>
                <a:gd name="connsiteX0" fmla="*/ 0 w 166740"/>
                <a:gd name="connsiteY0" fmla="*/ 0 h 342900"/>
                <a:gd name="connsiteX1" fmla="*/ 38100 w 166740"/>
                <a:gd name="connsiteY1" fmla="*/ 19050 h 342900"/>
                <a:gd name="connsiteX2" fmla="*/ 47625 w 166740"/>
                <a:gd name="connsiteY2" fmla="*/ 57150 h 342900"/>
                <a:gd name="connsiteX3" fmla="*/ 61913 w 166740"/>
                <a:gd name="connsiteY3" fmla="*/ 85725 h 342900"/>
                <a:gd name="connsiteX4" fmla="*/ 71438 w 166740"/>
                <a:gd name="connsiteY4" fmla="*/ 104775 h 342900"/>
                <a:gd name="connsiteX5" fmla="*/ 76200 w 166740"/>
                <a:gd name="connsiteY5" fmla="*/ 119062 h 342900"/>
                <a:gd name="connsiteX6" fmla="*/ 80963 w 166740"/>
                <a:gd name="connsiteY6" fmla="*/ 138112 h 342900"/>
                <a:gd name="connsiteX7" fmla="*/ 100013 w 166740"/>
                <a:gd name="connsiteY7" fmla="*/ 142875 h 342900"/>
                <a:gd name="connsiteX8" fmla="*/ 114300 w 166740"/>
                <a:gd name="connsiteY8" fmla="*/ 147637 h 342900"/>
                <a:gd name="connsiteX9" fmla="*/ 147638 w 166740"/>
                <a:gd name="connsiteY9" fmla="*/ 157162 h 342900"/>
                <a:gd name="connsiteX10" fmla="*/ 152400 w 166740"/>
                <a:gd name="connsiteY10" fmla="*/ 200025 h 342900"/>
                <a:gd name="connsiteX11" fmla="*/ 157163 w 166740"/>
                <a:gd name="connsiteY11" fmla="*/ 214312 h 342900"/>
                <a:gd name="connsiteX12" fmla="*/ 161925 w 166740"/>
                <a:gd name="connsiteY12" fmla="*/ 290512 h 342900"/>
                <a:gd name="connsiteX13" fmla="*/ 166688 w 166740"/>
                <a:gd name="connsiteY13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6740" h="342900">
                  <a:moveTo>
                    <a:pt x="0" y="0"/>
                  </a:moveTo>
                  <a:cubicBezTo>
                    <a:pt x="7193" y="2877"/>
                    <a:pt x="31385" y="10657"/>
                    <a:pt x="38100" y="19050"/>
                  </a:cubicBezTo>
                  <a:cubicBezTo>
                    <a:pt x="42061" y="24001"/>
                    <a:pt x="47301" y="55852"/>
                    <a:pt x="47625" y="57150"/>
                  </a:cubicBezTo>
                  <a:cubicBezTo>
                    <a:pt x="52475" y="76550"/>
                    <a:pt x="51568" y="67622"/>
                    <a:pt x="61913" y="85725"/>
                  </a:cubicBezTo>
                  <a:cubicBezTo>
                    <a:pt x="65435" y="91889"/>
                    <a:pt x="68641" y="98249"/>
                    <a:pt x="71438" y="104775"/>
                  </a:cubicBezTo>
                  <a:cubicBezTo>
                    <a:pt x="73415" y="109389"/>
                    <a:pt x="74821" y="114235"/>
                    <a:pt x="76200" y="119062"/>
                  </a:cubicBezTo>
                  <a:cubicBezTo>
                    <a:pt x="77998" y="125356"/>
                    <a:pt x="76335" y="133484"/>
                    <a:pt x="80963" y="138112"/>
                  </a:cubicBezTo>
                  <a:cubicBezTo>
                    <a:pt x="85591" y="142740"/>
                    <a:pt x="93719" y="141077"/>
                    <a:pt x="100013" y="142875"/>
                  </a:cubicBezTo>
                  <a:cubicBezTo>
                    <a:pt x="104840" y="144254"/>
                    <a:pt x="109492" y="146195"/>
                    <a:pt x="114300" y="147637"/>
                  </a:cubicBezTo>
                  <a:cubicBezTo>
                    <a:pt x="125370" y="150958"/>
                    <a:pt x="136525" y="153987"/>
                    <a:pt x="147638" y="157162"/>
                  </a:cubicBezTo>
                  <a:cubicBezTo>
                    <a:pt x="149225" y="171450"/>
                    <a:pt x="150037" y="185845"/>
                    <a:pt x="152400" y="200025"/>
                  </a:cubicBezTo>
                  <a:cubicBezTo>
                    <a:pt x="153225" y="204977"/>
                    <a:pt x="156637" y="209320"/>
                    <a:pt x="157163" y="214312"/>
                  </a:cubicBezTo>
                  <a:cubicBezTo>
                    <a:pt x="159827" y="239622"/>
                    <a:pt x="159720" y="265158"/>
                    <a:pt x="161925" y="290512"/>
                  </a:cubicBezTo>
                  <a:cubicBezTo>
                    <a:pt x="167586" y="355615"/>
                    <a:pt x="166688" y="298212"/>
                    <a:pt x="166688" y="34290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95DE259E-333A-2C62-3D6D-D9DFC02E2CE1}"/>
                </a:ext>
              </a:extLst>
            </p:cNvPr>
            <p:cNvSpPr/>
            <p:nvPr/>
          </p:nvSpPr>
          <p:spPr bwMode="gray">
            <a:xfrm>
              <a:off x="9822807" y="6396089"/>
              <a:ext cx="302502" cy="75625"/>
            </a:xfrm>
            <a:custGeom>
              <a:avLst/>
              <a:gdLst>
                <a:gd name="connsiteX0" fmla="*/ 400050 w 400050"/>
                <a:gd name="connsiteY0" fmla="*/ 52387 h 100012"/>
                <a:gd name="connsiteX1" fmla="*/ 371475 w 400050"/>
                <a:gd name="connsiteY1" fmla="*/ 76200 h 100012"/>
                <a:gd name="connsiteX2" fmla="*/ 314325 w 400050"/>
                <a:gd name="connsiteY2" fmla="*/ 100012 h 100012"/>
                <a:gd name="connsiteX3" fmla="*/ 209550 w 400050"/>
                <a:gd name="connsiteY3" fmla="*/ 95250 h 100012"/>
                <a:gd name="connsiteX4" fmla="*/ 161925 w 400050"/>
                <a:gd name="connsiteY4" fmla="*/ 80962 h 100012"/>
                <a:gd name="connsiteX5" fmla="*/ 128587 w 400050"/>
                <a:gd name="connsiteY5" fmla="*/ 76200 h 100012"/>
                <a:gd name="connsiteX6" fmla="*/ 104775 w 400050"/>
                <a:gd name="connsiteY6" fmla="*/ 71437 h 100012"/>
                <a:gd name="connsiteX7" fmla="*/ 80962 w 400050"/>
                <a:gd name="connsiteY7" fmla="*/ 57150 h 100012"/>
                <a:gd name="connsiteX8" fmla="*/ 71437 w 400050"/>
                <a:gd name="connsiteY8" fmla="*/ 42862 h 100012"/>
                <a:gd name="connsiteX9" fmla="*/ 52387 w 400050"/>
                <a:gd name="connsiteY9" fmla="*/ 33337 h 100012"/>
                <a:gd name="connsiteX10" fmla="*/ 23812 w 400050"/>
                <a:gd name="connsiteY10" fmla="*/ 19050 h 100012"/>
                <a:gd name="connsiteX11" fmla="*/ 0 w 400050"/>
                <a:gd name="connsiteY11" fmla="*/ 0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050" h="100012">
                  <a:moveTo>
                    <a:pt x="400050" y="52387"/>
                  </a:moveTo>
                  <a:cubicBezTo>
                    <a:pt x="390525" y="60325"/>
                    <a:pt x="382314" y="70179"/>
                    <a:pt x="371475" y="76200"/>
                  </a:cubicBezTo>
                  <a:cubicBezTo>
                    <a:pt x="353435" y="86222"/>
                    <a:pt x="314325" y="100012"/>
                    <a:pt x="314325" y="100012"/>
                  </a:cubicBezTo>
                  <a:cubicBezTo>
                    <a:pt x="279400" y="98425"/>
                    <a:pt x="244416" y="97833"/>
                    <a:pt x="209550" y="95250"/>
                  </a:cubicBezTo>
                  <a:cubicBezTo>
                    <a:pt x="175107" y="92699"/>
                    <a:pt x="195626" y="89387"/>
                    <a:pt x="161925" y="80962"/>
                  </a:cubicBezTo>
                  <a:cubicBezTo>
                    <a:pt x="151035" y="78240"/>
                    <a:pt x="139660" y="78045"/>
                    <a:pt x="128587" y="76200"/>
                  </a:cubicBezTo>
                  <a:cubicBezTo>
                    <a:pt x="120603" y="74869"/>
                    <a:pt x="112712" y="73025"/>
                    <a:pt x="104775" y="71437"/>
                  </a:cubicBezTo>
                  <a:cubicBezTo>
                    <a:pt x="96837" y="66675"/>
                    <a:pt x="87990" y="63174"/>
                    <a:pt x="80962" y="57150"/>
                  </a:cubicBezTo>
                  <a:cubicBezTo>
                    <a:pt x="76616" y="53425"/>
                    <a:pt x="75834" y="46526"/>
                    <a:pt x="71437" y="42862"/>
                  </a:cubicBezTo>
                  <a:cubicBezTo>
                    <a:pt x="65983" y="38317"/>
                    <a:pt x="58551" y="36859"/>
                    <a:pt x="52387" y="33337"/>
                  </a:cubicBezTo>
                  <a:cubicBezTo>
                    <a:pt x="26538" y="18566"/>
                    <a:pt x="50007" y="27781"/>
                    <a:pt x="23812" y="19050"/>
                  </a:cubicBez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909E117-6E2B-5984-EE0A-A460D7AA771C}"/>
                </a:ext>
              </a:extLst>
            </p:cNvPr>
            <p:cNvSpPr/>
            <p:nvPr/>
          </p:nvSpPr>
          <p:spPr bwMode="gray">
            <a:xfrm>
              <a:off x="9696426" y="6122397"/>
              <a:ext cx="126646" cy="298900"/>
            </a:xfrm>
            <a:custGeom>
              <a:avLst/>
              <a:gdLst>
                <a:gd name="connsiteX0" fmla="*/ 5210 w 167485"/>
                <a:gd name="connsiteY0" fmla="*/ 0 h 395287"/>
                <a:gd name="connsiteX1" fmla="*/ 5210 w 167485"/>
                <a:gd name="connsiteY1" fmla="*/ 95250 h 395287"/>
                <a:gd name="connsiteX2" fmla="*/ 48072 w 167485"/>
                <a:gd name="connsiteY2" fmla="*/ 123825 h 395287"/>
                <a:gd name="connsiteX3" fmla="*/ 76647 w 167485"/>
                <a:gd name="connsiteY3" fmla="*/ 152400 h 395287"/>
                <a:gd name="connsiteX4" fmla="*/ 100460 w 167485"/>
                <a:gd name="connsiteY4" fmla="*/ 176212 h 395287"/>
                <a:gd name="connsiteX5" fmla="*/ 124272 w 167485"/>
                <a:gd name="connsiteY5" fmla="*/ 195262 h 395287"/>
                <a:gd name="connsiteX6" fmla="*/ 129035 w 167485"/>
                <a:gd name="connsiteY6" fmla="*/ 233362 h 395287"/>
                <a:gd name="connsiteX7" fmla="*/ 133797 w 167485"/>
                <a:gd name="connsiteY7" fmla="*/ 247650 h 395287"/>
                <a:gd name="connsiteX8" fmla="*/ 138560 w 167485"/>
                <a:gd name="connsiteY8" fmla="*/ 285750 h 395287"/>
                <a:gd name="connsiteX9" fmla="*/ 157610 w 167485"/>
                <a:gd name="connsiteY9" fmla="*/ 333375 h 395287"/>
                <a:gd name="connsiteX10" fmla="*/ 162372 w 167485"/>
                <a:gd name="connsiteY10" fmla="*/ 357187 h 395287"/>
                <a:gd name="connsiteX11" fmla="*/ 167135 w 167485"/>
                <a:gd name="connsiteY11" fmla="*/ 376237 h 395287"/>
                <a:gd name="connsiteX12" fmla="*/ 167135 w 167485"/>
                <a:gd name="connsiteY12" fmla="*/ 395287 h 39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7485" h="395287">
                  <a:moveTo>
                    <a:pt x="5210" y="0"/>
                  </a:moveTo>
                  <a:cubicBezTo>
                    <a:pt x="3093" y="21168"/>
                    <a:pt x="-5374" y="74082"/>
                    <a:pt x="5210" y="95250"/>
                  </a:cubicBezTo>
                  <a:cubicBezTo>
                    <a:pt x="9972" y="104773"/>
                    <a:pt x="38548" y="114301"/>
                    <a:pt x="48072" y="123825"/>
                  </a:cubicBezTo>
                  <a:lnTo>
                    <a:pt x="76647" y="152400"/>
                  </a:lnTo>
                  <a:cubicBezTo>
                    <a:pt x="84585" y="160337"/>
                    <a:pt x="91695" y="169200"/>
                    <a:pt x="100460" y="176212"/>
                  </a:cubicBezTo>
                  <a:lnTo>
                    <a:pt x="124272" y="195262"/>
                  </a:lnTo>
                  <a:cubicBezTo>
                    <a:pt x="125860" y="207962"/>
                    <a:pt x="126745" y="220770"/>
                    <a:pt x="129035" y="233362"/>
                  </a:cubicBezTo>
                  <a:cubicBezTo>
                    <a:pt x="129933" y="238301"/>
                    <a:pt x="132899" y="242711"/>
                    <a:pt x="133797" y="247650"/>
                  </a:cubicBezTo>
                  <a:cubicBezTo>
                    <a:pt x="136087" y="260242"/>
                    <a:pt x="135134" y="273418"/>
                    <a:pt x="138560" y="285750"/>
                  </a:cubicBezTo>
                  <a:cubicBezTo>
                    <a:pt x="143136" y="302224"/>
                    <a:pt x="157610" y="333375"/>
                    <a:pt x="157610" y="333375"/>
                  </a:cubicBezTo>
                  <a:cubicBezTo>
                    <a:pt x="159197" y="341312"/>
                    <a:pt x="160616" y="349285"/>
                    <a:pt x="162372" y="357187"/>
                  </a:cubicBezTo>
                  <a:cubicBezTo>
                    <a:pt x="163792" y="363577"/>
                    <a:pt x="166323" y="369742"/>
                    <a:pt x="167135" y="376237"/>
                  </a:cubicBezTo>
                  <a:cubicBezTo>
                    <a:pt x="167923" y="382538"/>
                    <a:pt x="167135" y="388937"/>
                    <a:pt x="167135" y="39528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2726648E-77F9-FBB2-3380-4AC504C08318}"/>
                </a:ext>
              </a:extLst>
            </p:cNvPr>
            <p:cNvSpPr/>
            <p:nvPr/>
          </p:nvSpPr>
          <p:spPr bwMode="gray">
            <a:xfrm>
              <a:off x="8731638" y="5355338"/>
              <a:ext cx="514974" cy="1134383"/>
            </a:xfrm>
            <a:custGeom>
              <a:avLst/>
              <a:gdLst>
                <a:gd name="connsiteX0" fmla="*/ 9525 w 681038"/>
                <a:gd name="connsiteY0" fmla="*/ 0 h 1500188"/>
                <a:gd name="connsiteX1" fmla="*/ 9525 w 681038"/>
                <a:gd name="connsiteY1" fmla="*/ 233363 h 1500188"/>
                <a:gd name="connsiteX2" fmla="*/ 4763 w 681038"/>
                <a:gd name="connsiteY2" fmla="*/ 252413 h 1500188"/>
                <a:gd name="connsiteX3" fmla="*/ 0 w 681038"/>
                <a:gd name="connsiteY3" fmla="*/ 276225 h 1500188"/>
                <a:gd name="connsiteX4" fmla="*/ 4763 w 681038"/>
                <a:gd name="connsiteY4" fmla="*/ 461963 h 1500188"/>
                <a:gd name="connsiteX5" fmla="*/ 9525 w 681038"/>
                <a:gd name="connsiteY5" fmla="*/ 485775 h 1500188"/>
                <a:gd name="connsiteX6" fmla="*/ 28575 w 681038"/>
                <a:gd name="connsiteY6" fmla="*/ 519113 h 1500188"/>
                <a:gd name="connsiteX7" fmla="*/ 52388 w 681038"/>
                <a:gd name="connsiteY7" fmla="*/ 557213 h 1500188"/>
                <a:gd name="connsiteX8" fmla="*/ 76200 w 681038"/>
                <a:gd name="connsiteY8" fmla="*/ 609600 h 1500188"/>
                <a:gd name="connsiteX9" fmla="*/ 95250 w 681038"/>
                <a:gd name="connsiteY9" fmla="*/ 628650 h 1500188"/>
                <a:gd name="connsiteX10" fmla="*/ 114300 w 681038"/>
                <a:gd name="connsiteY10" fmla="*/ 652463 h 1500188"/>
                <a:gd name="connsiteX11" fmla="*/ 138113 w 681038"/>
                <a:gd name="connsiteY11" fmla="*/ 676275 h 1500188"/>
                <a:gd name="connsiteX12" fmla="*/ 171450 w 681038"/>
                <a:gd name="connsiteY12" fmla="*/ 714375 h 1500188"/>
                <a:gd name="connsiteX13" fmla="*/ 185738 w 681038"/>
                <a:gd name="connsiteY13" fmla="*/ 733425 h 1500188"/>
                <a:gd name="connsiteX14" fmla="*/ 204788 w 681038"/>
                <a:gd name="connsiteY14" fmla="*/ 762000 h 1500188"/>
                <a:gd name="connsiteX15" fmla="*/ 223838 w 681038"/>
                <a:gd name="connsiteY15" fmla="*/ 781050 h 1500188"/>
                <a:gd name="connsiteX16" fmla="*/ 323850 w 681038"/>
                <a:gd name="connsiteY16" fmla="*/ 871538 h 1500188"/>
                <a:gd name="connsiteX17" fmla="*/ 352425 w 681038"/>
                <a:gd name="connsiteY17" fmla="*/ 909638 h 1500188"/>
                <a:gd name="connsiteX18" fmla="*/ 366713 w 681038"/>
                <a:gd name="connsiteY18" fmla="*/ 923925 h 1500188"/>
                <a:gd name="connsiteX19" fmla="*/ 376238 w 681038"/>
                <a:gd name="connsiteY19" fmla="*/ 938213 h 1500188"/>
                <a:gd name="connsiteX20" fmla="*/ 385763 w 681038"/>
                <a:gd name="connsiteY20" fmla="*/ 957263 h 1500188"/>
                <a:gd name="connsiteX21" fmla="*/ 400050 w 681038"/>
                <a:gd name="connsiteY21" fmla="*/ 966788 h 1500188"/>
                <a:gd name="connsiteX22" fmla="*/ 419100 w 681038"/>
                <a:gd name="connsiteY22" fmla="*/ 1000125 h 1500188"/>
                <a:gd name="connsiteX23" fmla="*/ 423863 w 681038"/>
                <a:gd name="connsiteY23" fmla="*/ 1019175 h 1500188"/>
                <a:gd name="connsiteX24" fmla="*/ 438150 w 681038"/>
                <a:gd name="connsiteY24" fmla="*/ 1042988 h 1500188"/>
                <a:gd name="connsiteX25" fmla="*/ 442913 w 681038"/>
                <a:gd name="connsiteY25" fmla="*/ 1062038 h 1500188"/>
                <a:gd name="connsiteX26" fmla="*/ 466725 w 681038"/>
                <a:gd name="connsiteY26" fmla="*/ 1090613 h 1500188"/>
                <a:gd name="connsiteX27" fmla="*/ 495300 w 681038"/>
                <a:gd name="connsiteY27" fmla="*/ 1128713 h 1500188"/>
                <a:gd name="connsiteX28" fmla="*/ 523875 w 681038"/>
                <a:gd name="connsiteY28" fmla="*/ 1152525 h 1500188"/>
                <a:gd name="connsiteX29" fmla="*/ 547688 w 681038"/>
                <a:gd name="connsiteY29" fmla="*/ 1181100 h 1500188"/>
                <a:gd name="connsiteX30" fmla="*/ 552450 w 681038"/>
                <a:gd name="connsiteY30" fmla="*/ 1195388 h 1500188"/>
                <a:gd name="connsiteX31" fmla="*/ 576263 w 681038"/>
                <a:gd name="connsiteY31" fmla="*/ 1219200 h 1500188"/>
                <a:gd name="connsiteX32" fmla="*/ 585788 w 681038"/>
                <a:gd name="connsiteY32" fmla="*/ 1233488 h 1500188"/>
                <a:gd name="connsiteX33" fmla="*/ 628650 w 681038"/>
                <a:gd name="connsiteY33" fmla="*/ 1271588 h 1500188"/>
                <a:gd name="connsiteX34" fmla="*/ 642938 w 681038"/>
                <a:gd name="connsiteY34" fmla="*/ 1285875 h 1500188"/>
                <a:gd name="connsiteX35" fmla="*/ 652463 w 681038"/>
                <a:gd name="connsiteY35" fmla="*/ 1300163 h 1500188"/>
                <a:gd name="connsiteX36" fmla="*/ 666750 w 681038"/>
                <a:gd name="connsiteY36" fmla="*/ 1314450 h 1500188"/>
                <a:gd name="connsiteX37" fmla="*/ 681038 w 681038"/>
                <a:gd name="connsiteY37" fmla="*/ 1343025 h 1500188"/>
                <a:gd name="connsiteX38" fmla="*/ 676275 w 681038"/>
                <a:gd name="connsiteY38" fmla="*/ 1471613 h 1500188"/>
                <a:gd name="connsiteX39" fmla="*/ 671513 w 681038"/>
                <a:gd name="connsiteY39" fmla="*/ 1485900 h 1500188"/>
                <a:gd name="connsiteX40" fmla="*/ 661988 w 681038"/>
                <a:gd name="connsiteY40" fmla="*/ 1500188 h 150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81038" h="1500188">
                  <a:moveTo>
                    <a:pt x="9525" y="0"/>
                  </a:moveTo>
                  <a:cubicBezTo>
                    <a:pt x="13556" y="112848"/>
                    <a:pt x="17847" y="129334"/>
                    <a:pt x="9525" y="233363"/>
                  </a:cubicBezTo>
                  <a:cubicBezTo>
                    <a:pt x="9003" y="239888"/>
                    <a:pt x="6183" y="246023"/>
                    <a:pt x="4763" y="252413"/>
                  </a:cubicBezTo>
                  <a:cubicBezTo>
                    <a:pt x="3007" y="260315"/>
                    <a:pt x="1588" y="268288"/>
                    <a:pt x="0" y="276225"/>
                  </a:cubicBezTo>
                  <a:cubicBezTo>
                    <a:pt x="1588" y="338138"/>
                    <a:pt x="1951" y="400094"/>
                    <a:pt x="4763" y="461963"/>
                  </a:cubicBezTo>
                  <a:cubicBezTo>
                    <a:pt x="5131" y="470049"/>
                    <a:pt x="6965" y="478096"/>
                    <a:pt x="9525" y="485775"/>
                  </a:cubicBezTo>
                  <a:cubicBezTo>
                    <a:pt x="17872" y="510816"/>
                    <a:pt x="18126" y="498215"/>
                    <a:pt x="28575" y="519113"/>
                  </a:cubicBezTo>
                  <a:cubicBezTo>
                    <a:pt x="47188" y="556337"/>
                    <a:pt x="8667" y="502561"/>
                    <a:pt x="52388" y="557213"/>
                  </a:cubicBezTo>
                  <a:cubicBezTo>
                    <a:pt x="58432" y="575345"/>
                    <a:pt x="63472" y="594751"/>
                    <a:pt x="76200" y="609600"/>
                  </a:cubicBezTo>
                  <a:cubicBezTo>
                    <a:pt x="82044" y="616418"/>
                    <a:pt x="88900" y="622300"/>
                    <a:pt x="95250" y="628650"/>
                  </a:cubicBezTo>
                  <a:cubicBezTo>
                    <a:pt x="104522" y="656465"/>
                    <a:pt x="92758" y="630921"/>
                    <a:pt x="114300" y="652463"/>
                  </a:cubicBezTo>
                  <a:cubicBezTo>
                    <a:pt x="146047" y="684210"/>
                    <a:pt x="100015" y="650877"/>
                    <a:pt x="138113" y="676275"/>
                  </a:cubicBezTo>
                  <a:cubicBezTo>
                    <a:pt x="174130" y="724299"/>
                    <a:pt x="128299" y="665060"/>
                    <a:pt x="171450" y="714375"/>
                  </a:cubicBezTo>
                  <a:cubicBezTo>
                    <a:pt x="176677" y="720349"/>
                    <a:pt x="181186" y="726922"/>
                    <a:pt x="185738" y="733425"/>
                  </a:cubicBezTo>
                  <a:cubicBezTo>
                    <a:pt x="192303" y="742803"/>
                    <a:pt x="196693" y="753905"/>
                    <a:pt x="204788" y="762000"/>
                  </a:cubicBezTo>
                  <a:cubicBezTo>
                    <a:pt x="211138" y="768350"/>
                    <a:pt x="217104" y="775108"/>
                    <a:pt x="223838" y="781050"/>
                  </a:cubicBezTo>
                  <a:cubicBezTo>
                    <a:pt x="241874" y="796964"/>
                    <a:pt x="304893" y="846262"/>
                    <a:pt x="323850" y="871538"/>
                  </a:cubicBezTo>
                  <a:cubicBezTo>
                    <a:pt x="333375" y="884238"/>
                    <a:pt x="341199" y="898413"/>
                    <a:pt x="352425" y="909638"/>
                  </a:cubicBezTo>
                  <a:cubicBezTo>
                    <a:pt x="357188" y="914400"/>
                    <a:pt x="362401" y="918751"/>
                    <a:pt x="366713" y="923925"/>
                  </a:cubicBezTo>
                  <a:cubicBezTo>
                    <a:pt x="370377" y="928322"/>
                    <a:pt x="373398" y="933243"/>
                    <a:pt x="376238" y="938213"/>
                  </a:cubicBezTo>
                  <a:cubicBezTo>
                    <a:pt x="379760" y="944377"/>
                    <a:pt x="381218" y="951809"/>
                    <a:pt x="385763" y="957263"/>
                  </a:cubicBezTo>
                  <a:cubicBezTo>
                    <a:pt x="389427" y="961660"/>
                    <a:pt x="395288" y="963613"/>
                    <a:pt x="400050" y="966788"/>
                  </a:cubicBezTo>
                  <a:cubicBezTo>
                    <a:pt x="414620" y="1010491"/>
                    <a:pt x="390264" y="942454"/>
                    <a:pt x="419100" y="1000125"/>
                  </a:cubicBezTo>
                  <a:cubicBezTo>
                    <a:pt x="422027" y="1005979"/>
                    <a:pt x="421205" y="1013194"/>
                    <a:pt x="423863" y="1019175"/>
                  </a:cubicBezTo>
                  <a:cubicBezTo>
                    <a:pt x="427622" y="1027634"/>
                    <a:pt x="433388" y="1035050"/>
                    <a:pt x="438150" y="1042988"/>
                  </a:cubicBezTo>
                  <a:cubicBezTo>
                    <a:pt x="439738" y="1049338"/>
                    <a:pt x="440335" y="1056022"/>
                    <a:pt x="442913" y="1062038"/>
                  </a:cubicBezTo>
                  <a:cubicBezTo>
                    <a:pt x="449344" y="1077042"/>
                    <a:pt x="456428" y="1078028"/>
                    <a:pt x="466725" y="1090613"/>
                  </a:cubicBezTo>
                  <a:cubicBezTo>
                    <a:pt x="476778" y="1102900"/>
                    <a:pt x="482091" y="1119907"/>
                    <a:pt x="495300" y="1128713"/>
                  </a:cubicBezTo>
                  <a:cubicBezTo>
                    <a:pt x="515192" y="1141974"/>
                    <a:pt x="505541" y="1134191"/>
                    <a:pt x="523875" y="1152525"/>
                  </a:cubicBezTo>
                  <a:cubicBezTo>
                    <a:pt x="534796" y="1185287"/>
                    <a:pt x="518854" y="1146498"/>
                    <a:pt x="547688" y="1181100"/>
                  </a:cubicBezTo>
                  <a:cubicBezTo>
                    <a:pt x="550902" y="1184957"/>
                    <a:pt x="549438" y="1191372"/>
                    <a:pt x="552450" y="1195388"/>
                  </a:cubicBezTo>
                  <a:cubicBezTo>
                    <a:pt x="559185" y="1204368"/>
                    <a:pt x="568871" y="1210752"/>
                    <a:pt x="576263" y="1219200"/>
                  </a:cubicBezTo>
                  <a:cubicBezTo>
                    <a:pt x="580032" y="1223508"/>
                    <a:pt x="581741" y="1229441"/>
                    <a:pt x="585788" y="1233488"/>
                  </a:cubicBezTo>
                  <a:cubicBezTo>
                    <a:pt x="599305" y="1247005"/>
                    <a:pt x="614559" y="1258671"/>
                    <a:pt x="628650" y="1271588"/>
                  </a:cubicBezTo>
                  <a:cubicBezTo>
                    <a:pt x="633615" y="1276139"/>
                    <a:pt x="638626" y="1280701"/>
                    <a:pt x="642938" y="1285875"/>
                  </a:cubicBezTo>
                  <a:cubicBezTo>
                    <a:pt x="646602" y="1290272"/>
                    <a:pt x="648799" y="1295766"/>
                    <a:pt x="652463" y="1300163"/>
                  </a:cubicBezTo>
                  <a:cubicBezTo>
                    <a:pt x="656775" y="1305337"/>
                    <a:pt x="662438" y="1309276"/>
                    <a:pt x="666750" y="1314450"/>
                  </a:cubicBezTo>
                  <a:cubicBezTo>
                    <a:pt x="677007" y="1326759"/>
                    <a:pt x="676265" y="1328707"/>
                    <a:pt x="681038" y="1343025"/>
                  </a:cubicBezTo>
                  <a:cubicBezTo>
                    <a:pt x="679450" y="1385888"/>
                    <a:pt x="679128" y="1428816"/>
                    <a:pt x="676275" y="1471613"/>
                  </a:cubicBezTo>
                  <a:cubicBezTo>
                    <a:pt x="675941" y="1476622"/>
                    <a:pt x="673758" y="1481410"/>
                    <a:pt x="671513" y="1485900"/>
                  </a:cubicBezTo>
                  <a:cubicBezTo>
                    <a:pt x="668953" y="1491020"/>
                    <a:pt x="665163" y="1495425"/>
                    <a:pt x="661988" y="1500188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E24BCD20-BE70-A5BE-493C-3437BFBC2DA5}"/>
                </a:ext>
              </a:extLst>
            </p:cNvPr>
            <p:cNvSpPr/>
            <p:nvPr/>
          </p:nvSpPr>
          <p:spPr bwMode="gray">
            <a:xfrm>
              <a:off x="9225005" y="6118795"/>
              <a:ext cx="471759" cy="223289"/>
            </a:xfrm>
            <a:custGeom>
              <a:avLst/>
              <a:gdLst>
                <a:gd name="connsiteX0" fmla="*/ 623887 w 623887"/>
                <a:gd name="connsiteY0" fmla="*/ 0 h 295293"/>
                <a:gd name="connsiteX1" fmla="*/ 604837 w 623887"/>
                <a:gd name="connsiteY1" fmla="*/ 23813 h 295293"/>
                <a:gd name="connsiteX2" fmla="*/ 585787 w 623887"/>
                <a:gd name="connsiteY2" fmla="*/ 28575 h 295293"/>
                <a:gd name="connsiteX3" fmla="*/ 552450 w 623887"/>
                <a:gd name="connsiteY3" fmla="*/ 33338 h 295293"/>
                <a:gd name="connsiteX4" fmla="*/ 547687 w 623887"/>
                <a:gd name="connsiteY4" fmla="*/ 52388 h 295293"/>
                <a:gd name="connsiteX5" fmla="*/ 533400 w 623887"/>
                <a:gd name="connsiteY5" fmla="*/ 57150 h 295293"/>
                <a:gd name="connsiteX6" fmla="*/ 514350 w 623887"/>
                <a:gd name="connsiteY6" fmla="*/ 66675 h 295293"/>
                <a:gd name="connsiteX7" fmla="*/ 495300 w 623887"/>
                <a:gd name="connsiteY7" fmla="*/ 71438 h 295293"/>
                <a:gd name="connsiteX8" fmla="*/ 481012 w 623887"/>
                <a:gd name="connsiteY8" fmla="*/ 76200 h 295293"/>
                <a:gd name="connsiteX9" fmla="*/ 452437 w 623887"/>
                <a:gd name="connsiteY9" fmla="*/ 80963 h 295293"/>
                <a:gd name="connsiteX10" fmla="*/ 433387 w 623887"/>
                <a:gd name="connsiteY10" fmla="*/ 85725 h 295293"/>
                <a:gd name="connsiteX11" fmla="*/ 409575 w 623887"/>
                <a:gd name="connsiteY11" fmla="*/ 100013 h 295293"/>
                <a:gd name="connsiteX12" fmla="*/ 376237 w 623887"/>
                <a:gd name="connsiteY12" fmla="*/ 123825 h 295293"/>
                <a:gd name="connsiteX13" fmla="*/ 361950 w 623887"/>
                <a:gd name="connsiteY13" fmla="*/ 142875 h 295293"/>
                <a:gd name="connsiteX14" fmla="*/ 352425 w 623887"/>
                <a:gd name="connsiteY14" fmla="*/ 157163 h 295293"/>
                <a:gd name="connsiteX15" fmla="*/ 333375 w 623887"/>
                <a:gd name="connsiteY15" fmla="*/ 171450 h 295293"/>
                <a:gd name="connsiteX16" fmla="*/ 295275 w 623887"/>
                <a:gd name="connsiteY16" fmla="*/ 180975 h 295293"/>
                <a:gd name="connsiteX17" fmla="*/ 271462 w 623887"/>
                <a:gd name="connsiteY17" fmla="*/ 195263 h 295293"/>
                <a:gd name="connsiteX18" fmla="*/ 114300 w 623887"/>
                <a:gd name="connsiteY18" fmla="*/ 247650 h 295293"/>
                <a:gd name="connsiteX19" fmla="*/ 71437 w 623887"/>
                <a:gd name="connsiteY19" fmla="*/ 257175 h 295293"/>
                <a:gd name="connsiteX20" fmla="*/ 19050 w 623887"/>
                <a:gd name="connsiteY20" fmla="*/ 280988 h 295293"/>
                <a:gd name="connsiteX21" fmla="*/ 0 w 623887"/>
                <a:gd name="connsiteY21" fmla="*/ 295275 h 295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887" h="295293">
                  <a:moveTo>
                    <a:pt x="623887" y="0"/>
                  </a:moveTo>
                  <a:cubicBezTo>
                    <a:pt x="617537" y="7938"/>
                    <a:pt x="612969" y="17714"/>
                    <a:pt x="604837" y="23813"/>
                  </a:cubicBezTo>
                  <a:cubicBezTo>
                    <a:pt x="599601" y="27740"/>
                    <a:pt x="592227" y="27404"/>
                    <a:pt x="585787" y="28575"/>
                  </a:cubicBezTo>
                  <a:cubicBezTo>
                    <a:pt x="574743" y="30583"/>
                    <a:pt x="563562" y="31750"/>
                    <a:pt x="552450" y="33338"/>
                  </a:cubicBezTo>
                  <a:cubicBezTo>
                    <a:pt x="550862" y="39688"/>
                    <a:pt x="551776" y="47277"/>
                    <a:pt x="547687" y="52388"/>
                  </a:cubicBezTo>
                  <a:cubicBezTo>
                    <a:pt x="544551" y="56308"/>
                    <a:pt x="538014" y="55173"/>
                    <a:pt x="533400" y="57150"/>
                  </a:cubicBezTo>
                  <a:cubicBezTo>
                    <a:pt x="526874" y="59947"/>
                    <a:pt x="520997" y="64182"/>
                    <a:pt x="514350" y="66675"/>
                  </a:cubicBezTo>
                  <a:cubicBezTo>
                    <a:pt x="508221" y="68973"/>
                    <a:pt x="501594" y="69640"/>
                    <a:pt x="495300" y="71438"/>
                  </a:cubicBezTo>
                  <a:cubicBezTo>
                    <a:pt x="490473" y="72817"/>
                    <a:pt x="485913" y="75111"/>
                    <a:pt x="481012" y="76200"/>
                  </a:cubicBezTo>
                  <a:cubicBezTo>
                    <a:pt x="471586" y="78295"/>
                    <a:pt x="461906" y="79069"/>
                    <a:pt x="452437" y="80963"/>
                  </a:cubicBezTo>
                  <a:cubicBezTo>
                    <a:pt x="446019" y="82247"/>
                    <a:pt x="439737" y="84138"/>
                    <a:pt x="433387" y="85725"/>
                  </a:cubicBezTo>
                  <a:cubicBezTo>
                    <a:pt x="425450" y="90488"/>
                    <a:pt x="416980" y="94459"/>
                    <a:pt x="409575" y="100013"/>
                  </a:cubicBezTo>
                  <a:cubicBezTo>
                    <a:pt x="370964" y="128971"/>
                    <a:pt x="421658" y="101114"/>
                    <a:pt x="376237" y="123825"/>
                  </a:cubicBezTo>
                  <a:cubicBezTo>
                    <a:pt x="371475" y="130175"/>
                    <a:pt x="366563" y="136416"/>
                    <a:pt x="361950" y="142875"/>
                  </a:cubicBezTo>
                  <a:cubicBezTo>
                    <a:pt x="358623" y="147533"/>
                    <a:pt x="356472" y="153116"/>
                    <a:pt x="352425" y="157163"/>
                  </a:cubicBezTo>
                  <a:cubicBezTo>
                    <a:pt x="346812" y="162776"/>
                    <a:pt x="340267" y="167512"/>
                    <a:pt x="333375" y="171450"/>
                  </a:cubicBezTo>
                  <a:cubicBezTo>
                    <a:pt x="325487" y="175957"/>
                    <a:pt x="301309" y="179768"/>
                    <a:pt x="295275" y="180975"/>
                  </a:cubicBezTo>
                  <a:cubicBezTo>
                    <a:pt x="287337" y="185738"/>
                    <a:pt x="278457" y="189200"/>
                    <a:pt x="271462" y="195263"/>
                  </a:cubicBezTo>
                  <a:cubicBezTo>
                    <a:pt x="186095" y="269248"/>
                    <a:pt x="265637" y="241071"/>
                    <a:pt x="114300" y="247650"/>
                  </a:cubicBezTo>
                  <a:cubicBezTo>
                    <a:pt x="109668" y="248576"/>
                    <a:pt x="77641" y="254590"/>
                    <a:pt x="71437" y="257175"/>
                  </a:cubicBezTo>
                  <a:cubicBezTo>
                    <a:pt x="-13776" y="292680"/>
                    <a:pt x="61876" y="266711"/>
                    <a:pt x="19050" y="280988"/>
                  </a:cubicBezTo>
                  <a:cubicBezTo>
                    <a:pt x="3640" y="296397"/>
                    <a:pt x="11497" y="295275"/>
                    <a:pt x="0" y="29527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2A07E1A-0CCA-A121-2355-B57E61A123DB}"/>
                </a:ext>
              </a:extLst>
            </p:cNvPr>
            <p:cNvSpPr/>
            <p:nvPr/>
          </p:nvSpPr>
          <p:spPr bwMode="gray">
            <a:xfrm>
              <a:off x="8187854" y="5736483"/>
              <a:ext cx="1429683" cy="94270"/>
            </a:xfrm>
            <a:custGeom>
              <a:avLst/>
              <a:gdLst>
                <a:gd name="connsiteX0" fmla="*/ 0 w 1890712"/>
                <a:gd name="connsiteY0" fmla="*/ 62684 h 124669"/>
                <a:gd name="connsiteX1" fmla="*/ 23812 w 1890712"/>
                <a:gd name="connsiteY1" fmla="*/ 72209 h 124669"/>
                <a:gd name="connsiteX2" fmla="*/ 66675 w 1890712"/>
                <a:gd name="connsiteY2" fmla="*/ 76971 h 124669"/>
                <a:gd name="connsiteX3" fmla="*/ 138112 w 1890712"/>
                <a:gd name="connsiteY3" fmla="*/ 110309 h 124669"/>
                <a:gd name="connsiteX4" fmla="*/ 147637 w 1890712"/>
                <a:gd name="connsiteY4" fmla="*/ 124596 h 124669"/>
                <a:gd name="connsiteX5" fmla="*/ 219075 w 1890712"/>
                <a:gd name="connsiteY5" fmla="*/ 105546 h 124669"/>
                <a:gd name="connsiteX6" fmla="*/ 238125 w 1890712"/>
                <a:gd name="connsiteY6" fmla="*/ 76971 h 124669"/>
                <a:gd name="connsiteX7" fmla="*/ 252412 w 1890712"/>
                <a:gd name="connsiteY7" fmla="*/ 72209 h 124669"/>
                <a:gd name="connsiteX8" fmla="*/ 276225 w 1890712"/>
                <a:gd name="connsiteY8" fmla="*/ 62684 h 124669"/>
                <a:gd name="connsiteX9" fmla="*/ 347662 w 1890712"/>
                <a:gd name="connsiteY9" fmla="*/ 48396 h 124669"/>
                <a:gd name="connsiteX10" fmla="*/ 409575 w 1890712"/>
                <a:gd name="connsiteY10" fmla="*/ 53159 h 124669"/>
                <a:gd name="connsiteX11" fmla="*/ 428625 w 1890712"/>
                <a:gd name="connsiteY11" fmla="*/ 72209 h 124669"/>
                <a:gd name="connsiteX12" fmla="*/ 442912 w 1890712"/>
                <a:gd name="connsiteY12" fmla="*/ 76971 h 124669"/>
                <a:gd name="connsiteX13" fmla="*/ 457200 w 1890712"/>
                <a:gd name="connsiteY13" fmla="*/ 86496 h 124669"/>
                <a:gd name="connsiteX14" fmla="*/ 533400 w 1890712"/>
                <a:gd name="connsiteY14" fmla="*/ 76971 h 124669"/>
                <a:gd name="connsiteX15" fmla="*/ 561975 w 1890712"/>
                <a:gd name="connsiteY15" fmla="*/ 72209 h 124669"/>
                <a:gd name="connsiteX16" fmla="*/ 595312 w 1890712"/>
                <a:gd name="connsiteY16" fmla="*/ 62684 h 124669"/>
                <a:gd name="connsiteX17" fmla="*/ 709612 w 1890712"/>
                <a:gd name="connsiteY17" fmla="*/ 67446 h 124669"/>
                <a:gd name="connsiteX18" fmla="*/ 742950 w 1890712"/>
                <a:gd name="connsiteY18" fmla="*/ 76971 h 124669"/>
                <a:gd name="connsiteX19" fmla="*/ 809625 w 1890712"/>
                <a:gd name="connsiteY19" fmla="*/ 67446 h 124669"/>
                <a:gd name="connsiteX20" fmla="*/ 942975 w 1890712"/>
                <a:gd name="connsiteY20" fmla="*/ 48396 h 124669"/>
                <a:gd name="connsiteX21" fmla="*/ 957262 w 1890712"/>
                <a:gd name="connsiteY21" fmla="*/ 34109 h 124669"/>
                <a:gd name="connsiteX22" fmla="*/ 971550 w 1890712"/>
                <a:gd name="connsiteY22" fmla="*/ 29346 h 124669"/>
                <a:gd name="connsiteX23" fmla="*/ 985837 w 1890712"/>
                <a:gd name="connsiteY23" fmla="*/ 15059 h 124669"/>
                <a:gd name="connsiteX24" fmla="*/ 1019175 w 1890712"/>
                <a:gd name="connsiteY24" fmla="*/ 10296 h 124669"/>
                <a:gd name="connsiteX25" fmla="*/ 1038225 w 1890712"/>
                <a:gd name="connsiteY25" fmla="*/ 5534 h 124669"/>
                <a:gd name="connsiteX26" fmla="*/ 1100137 w 1890712"/>
                <a:gd name="connsiteY26" fmla="*/ 15059 h 124669"/>
                <a:gd name="connsiteX27" fmla="*/ 1143000 w 1890712"/>
                <a:gd name="connsiteY27" fmla="*/ 10296 h 124669"/>
                <a:gd name="connsiteX28" fmla="*/ 1157287 w 1890712"/>
                <a:gd name="connsiteY28" fmla="*/ 5534 h 124669"/>
                <a:gd name="connsiteX29" fmla="*/ 1400175 w 1890712"/>
                <a:gd name="connsiteY29" fmla="*/ 5534 h 124669"/>
                <a:gd name="connsiteX30" fmla="*/ 1443037 w 1890712"/>
                <a:gd name="connsiteY30" fmla="*/ 15059 h 124669"/>
                <a:gd name="connsiteX31" fmla="*/ 1476375 w 1890712"/>
                <a:gd name="connsiteY31" fmla="*/ 24584 h 124669"/>
                <a:gd name="connsiteX32" fmla="*/ 1495425 w 1890712"/>
                <a:gd name="connsiteY32" fmla="*/ 29346 h 124669"/>
                <a:gd name="connsiteX33" fmla="*/ 1524000 w 1890712"/>
                <a:gd name="connsiteY33" fmla="*/ 43634 h 124669"/>
                <a:gd name="connsiteX34" fmla="*/ 1538287 w 1890712"/>
                <a:gd name="connsiteY34" fmla="*/ 53159 h 124669"/>
                <a:gd name="connsiteX35" fmla="*/ 1571625 w 1890712"/>
                <a:gd name="connsiteY35" fmla="*/ 62684 h 124669"/>
                <a:gd name="connsiteX36" fmla="*/ 1609725 w 1890712"/>
                <a:gd name="connsiteY36" fmla="*/ 76971 h 124669"/>
                <a:gd name="connsiteX37" fmla="*/ 1704975 w 1890712"/>
                <a:gd name="connsiteY37" fmla="*/ 81734 h 124669"/>
                <a:gd name="connsiteX38" fmla="*/ 1757362 w 1890712"/>
                <a:gd name="connsiteY38" fmla="*/ 76971 h 124669"/>
                <a:gd name="connsiteX39" fmla="*/ 1766887 w 1890712"/>
                <a:gd name="connsiteY39" fmla="*/ 62684 h 124669"/>
                <a:gd name="connsiteX40" fmla="*/ 1809750 w 1890712"/>
                <a:gd name="connsiteY40" fmla="*/ 67446 h 124669"/>
                <a:gd name="connsiteX41" fmla="*/ 1876425 w 1890712"/>
                <a:gd name="connsiteY41" fmla="*/ 67446 h 124669"/>
                <a:gd name="connsiteX42" fmla="*/ 1890712 w 1890712"/>
                <a:gd name="connsiteY42" fmla="*/ 62684 h 12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890712" h="124669">
                  <a:moveTo>
                    <a:pt x="0" y="62684"/>
                  </a:moveTo>
                  <a:cubicBezTo>
                    <a:pt x="7937" y="65859"/>
                    <a:pt x="15453" y="70418"/>
                    <a:pt x="23812" y="72209"/>
                  </a:cubicBezTo>
                  <a:cubicBezTo>
                    <a:pt x="37868" y="75221"/>
                    <a:pt x="52853" y="73022"/>
                    <a:pt x="66675" y="76971"/>
                  </a:cubicBezTo>
                  <a:cubicBezTo>
                    <a:pt x="107647" y="88677"/>
                    <a:pt x="112606" y="93304"/>
                    <a:pt x="138112" y="110309"/>
                  </a:cubicBezTo>
                  <a:cubicBezTo>
                    <a:pt x="141287" y="115071"/>
                    <a:pt x="141937" y="124078"/>
                    <a:pt x="147637" y="124596"/>
                  </a:cubicBezTo>
                  <a:cubicBezTo>
                    <a:pt x="161431" y="125850"/>
                    <a:pt x="203280" y="110811"/>
                    <a:pt x="219075" y="105546"/>
                  </a:cubicBezTo>
                  <a:cubicBezTo>
                    <a:pt x="225425" y="96021"/>
                    <a:pt x="227265" y="80591"/>
                    <a:pt x="238125" y="76971"/>
                  </a:cubicBezTo>
                  <a:cubicBezTo>
                    <a:pt x="242887" y="75384"/>
                    <a:pt x="247712" y="73972"/>
                    <a:pt x="252412" y="72209"/>
                  </a:cubicBezTo>
                  <a:cubicBezTo>
                    <a:pt x="260417" y="69207"/>
                    <a:pt x="268054" y="65198"/>
                    <a:pt x="276225" y="62684"/>
                  </a:cubicBezTo>
                  <a:cubicBezTo>
                    <a:pt x="308067" y="52886"/>
                    <a:pt x="316070" y="52910"/>
                    <a:pt x="347662" y="48396"/>
                  </a:cubicBezTo>
                  <a:cubicBezTo>
                    <a:pt x="368300" y="49984"/>
                    <a:pt x="389717" y="47318"/>
                    <a:pt x="409575" y="53159"/>
                  </a:cubicBezTo>
                  <a:cubicBezTo>
                    <a:pt x="418190" y="55693"/>
                    <a:pt x="421317" y="66989"/>
                    <a:pt x="428625" y="72209"/>
                  </a:cubicBezTo>
                  <a:cubicBezTo>
                    <a:pt x="432710" y="75127"/>
                    <a:pt x="438150" y="75384"/>
                    <a:pt x="442912" y="76971"/>
                  </a:cubicBezTo>
                  <a:cubicBezTo>
                    <a:pt x="447675" y="80146"/>
                    <a:pt x="451487" y="86139"/>
                    <a:pt x="457200" y="86496"/>
                  </a:cubicBezTo>
                  <a:cubicBezTo>
                    <a:pt x="545943" y="92043"/>
                    <a:pt x="494182" y="85686"/>
                    <a:pt x="533400" y="76971"/>
                  </a:cubicBezTo>
                  <a:cubicBezTo>
                    <a:pt x="542826" y="74876"/>
                    <a:pt x="552506" y="74103"/>
                    <a:pt x="561975" y="72209"/>
                  </a:cubicBezTo>
                  <a:cubicBezTo>
                    <a:pt x="576919" y="69220"/>
                    <a:pt x="581700" y="67221"/>
                    <a:pt x="595312" y="62684"/>
                  </a:cubicBezTo>
                  <a:cubicBezTo>
                    <a:pt x="633412" y="64271"/>
                    <a:pt x="671656" y="63773"/>
                    <a:pt x="709612" y="67446"/>
                  </a:cubicBezTo>
                  <a:cubicBezTo>
                    <a:pt x="721116" y="68559"/>
                    <a:pt x="731393" y="76971"/>
                    <a:pt x="742950" y="76971"/>
                  </a:cubicBezTo>
                  <a:cubicBezTo>
                    <a:pt x="765401" y="76971"/>
                    <a:pt x="787400" y="70621"/>
                    <a:pt x="809625" y="67446"/>
                  </a:cubicBezTo>
                  <a:cubicBezTo>
                    <a:pt x="881314" y="31603"/>
                    <a:pt x="788679" y="73084"/>
                    <a:pt x="942975" y="48396"/>
                  </a:cubicBezTo>
                  <a:cubicBezTo>
                    <a:pt x="949625" y="47332"/>
                    <a:pt x="951658" y="37845"/>
                    <a:pt x="957262" y="34109"/>
                  </a:cubicBezTo>
                  <a:cubicBezTo>
                    <a:pt x="961439" y="31324"/>
                    <a:pt x="966787" y="30934"/>
                    <a:pt x="971550" y="29346"/>
                  </a:cubicBezTo>
                  <a:cubicBezTo>
                    <a:pt x="976312" y="24584"/>
                    <a:pt x="979584" y="17560"/>
                    <a:pt x="985837" y="15059"/>
                  </a:cubicBezTo>
                  <a:cubicBezTo>
                    <a:pt x="996260" y="10890"/>
                    <a:pt x="1008131" y="12304"/>
                    <a:pt x="1019175" y="10296"/>
                  </a:cubicBezTo>
                  <a:cubicBezTo>
                    <a:pt x="1025615" y="9125"/>
                    <a:pt x="1031875" y="7121"/>
                    <a:pt x="1038225" y="5534"/>
                  </a:cubicBezTo>
                  <a:cubicBezTo>
                    <a:pt x="1056349" y="9159"/>
                    <a:pt x="1082843" y="15059"/>
                    <a:pt x="1100137" y="15059"/>
                  </a:cubicBezTo>
                  <a:cubicBezTo>
                    <a:pt x="1114513" y="15059"/>
                    <a:pt x="1128712" y="11884"/>
                    <a:pt x="1143000" y="10296"/>
                  </a:cubicBezTo>
                  <a:cubicBezTo>
                    <a:pt x="1147762" y="8709"/>
                    <a:pt x="1152318" y="6244"/>
                    <a:pt x="1157287" y="5534"/>
                  </a:cubicBezTo>
                  <a:cubicBezTo>
                    <a:pt x="1237150" y="-5875"/>
                    <a:pt x="1321773" y="3574"/>
                    <a:pt x="1400175" y="5534"/>
                  </a:cubicBezTo>
                  <a:cubicBezTo>
                    <a:pt x="1427979" y="14801"/>
                    <a:pt x="1401132" y="6678"/>
                    <a:pt x="1443037" y="15059"/>
                  </a:cubicBezTo>
                  <a:cubicBezTo>
                    <a:pt x="1467867" y="20025"/>
                    <a:pt x="1455180" y="18528"/>
                    <a:pt x="1476375" y="24584"/>
                  </a:cubicBezTo>
                  <a:cubicBezTo>
                    <a:pt x="1482669" y="26382"/>
                    <a:pt x="1489075" y="27759"/>
                    <a:pt x="1495425" y="29346"/>
                  </a:cubicBezTo>
                  <a:cubicBezTo>
                    <a:pt x="1536368" y="56642"/>
                    <a:pt x="1484566" y="23916"/>
                    <a:pt x="1524000" y="43634"/>
                  </a:cubicBezTo>
                  <a:cubicBezTo>
                    <a:pt x="1529119" y="46194"/>
                    <a:pt x="1533168" y="50599"/>
                    <a:pt x="1538287" y="53159"/>
                  </a:cubicBezTo>
                  <a:cubicBezTo>
                    <a:pt x="1549792" y="58911"/>
                    <a:pt x="1559430" y="58111"/>
                    <a:pt x="1571625" y="62684"/>
                  </a:cubicBezTo>
                  <a:cubicBezTo>
                    <a:pt x="1591128" y="69998"/>
                    <a:pt x="1588767" y="75225"/>
                    <a:pt x="1609725" y="76971"/>
                  </a:cubicBezTo>
                  <a:cubicBezTo>
                    <a:pt x="1641405" y="79611"/>
                    <a:pt x="1673225" y="80146"/>
                    <a:pt x="1704975" y="81734"/>
                  </a:cubicBezTo>
                  <a:cubicBezTo>
                    <a:pt x="1722437" y="80146"/>
                    <a:pt x="1740603" y="82128"/>
                    <a:pt x="1757362" y="76971"/>
                  </a:cubicBezTo>
                  <a:cubicBezTo>
                    <a:pt x="1762833" y="75288"/>
                    <a:pt x="1761256" y="63708"/>
                    <a:pt x="1766887" y="62684"/>
                  </a:cubicBezTo>
                  <a:cubicBezTo>
                    <a:pt x="1781031" y="60112"/>
                    <a:pt x="1795462" y="65859"/>
                    <a:pt x="1809750" y="67446"/>
                  </a:cubicBezTo>
                  <a:cubicBezTo>
                    <a:pt x="1841317" y="75339"/>
                    <a:pt x="1829504" y="74665"/>
                    <a:pt x="1876425" y="67446"/>
                  </a:cubicBezTo>
                  <a:cubicBezTo>
                    <a:pt x="1881387" y="66683"/>
                    <a:pt x="1890712" y="62684"/>
                    <a:pt x="1890712" y="62684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BA0770C3-43FE-E097-1273-59A4BACF3A1C}"/>
                </a:ext>
              </a:extLst>
            </p:cNvPr>
            <p:cNvSpPr/>
            <p:nvPr/>
          </p:nvSpPr>
          <p:spPr bwMode="gray">
            <a:xfrm>
              <a:off x="8501161" y="5106854"/>
              <a:ext cx="1274830" cy="198368"/>
            </a:xfrm>
            <a:custGeom>
              <a:avLst/>
              <a:gdLst>
                <a:gd name="connsiteX0" fmla="*/ 0 w 1685925"/>
                <a:gd name="connsiteY0" fmla="*/ 166687 h 262336"/>
                <a:gd name="connsiteX1" fmla="*/ 28575 w 1685925"/>
                <a:gd name="connsiteY1" fmla="*/ 147637 h 262336"/>
                <a:gd name="connsiteX2" fmla="*/ 85725 w 1685925"/>
                <a:gd name="connsiteY2" fmla="*/ 114300 h 262336"/>
                <a:gd name="connsiteX3" fmla="*/ 119063 w 1685925"/>
                <a:gd name="connsiteY3" fmla="*/ 95250 h 262336"/>
                <a:gd name="connsiteX4" fmla="*/ 157163 w 1685925"/>
                <a:gd name="connsiteY4" fmla="*/ 80962 h 262336"/>
                <a:gd name="connsiteX5" fmla="*/ 185738 w 1685925"/>
                <a:gd name="connsiteY5" fmla="*/ 71437 h 262336"/>
                <a:gd name="connsiteX6" fmla="*/ 204788 w 1685925"/>
                <a:gd name="connsiteY6" fmla="*/ 66675 h 262336"/>
                <a:gd name="connsiteX7" fmla="*/ 228600 w 1685925"/>
                <a:gd name="connsiteY7" fmla="*/ 52387 h 262336"/>
                <a:gd name="connsiteX8" fmla="*/ 242888 w 1685925"/>
                <a:gd name="connsiteY8" fmla="*/ 47625 h 262336"/>
                <a:gd name="connsiteX9" fmla="*/ 266700 w 1685925"/>
                <a:gd name="connsiteY9" fmla="*/ 38100 h 262336"/>
                <a:gd name="connsiteX10" fmla="*/ 280988 w 1685925"/>
                <a:gd name="connsiteY10" fmla="*/ 28575 h 262336"/>
                <a:gd name="connsiteX11" fmla="*/ 304800 w 1685925"/>
                <a:gd name="connsiteY11" fmla="*/ 19050 h 262336"/>
                <a:gd name="connsiteX12" fmla="*/ 319088 w 1685925"/>
                <a:gd name="connsiteY12" fmla="*/ 9525 h 262336"/>
                <a:gd name="connsiteX13" fmla="*/ 338138 w 1685925"/>
                <a:gd name="connsiteY13" fmla="*/ 0 h 262336"/>
                <a:gd name="connsiteX14" fmla="*/ 404813 w 1685925"/>
                <a:gd name="connsiteY14" fmla="*/ 4762 h 262336"/>
                <a:gd name="connsiteX15" fmla="*/ 423863 w 1685925"/>
                <a:gd name="connsiteY15" fmla="*/ 14287 h 262336"/>
                <a:gd name="connsiteX16" fmla="*/ 447675 w 1685925"/>
                <a:gd name="connsiteY16" fmla="*/ 23812 h 262336"/>
                <a:gd name="connsiteX17" fmla="*/ 481013 w 1685925"/>
                <a:gd name="connsiteY17" fmla="*/ 28575 h 262336"/>
                <a:gd name="connsiteX18" fmla="*/ 514350 w 1685925"/>
                <a:gd name="connsiteY18" fmla="*/ 52387 h 262336"/>
                <a:gd name="connsiteX19" fmla="*/ 552450 w 1685925"/>
                <a:gd name="connsiteY19" fmla="*/ 76200 h 262336"/>
                <a:gd name="connsiteX20" fmla="*/ 566738 w 1685925"/>
                <a:gd name="connsiteY20" fmla="*/ 80962 h 262336"/>
                <a:gd name="connsiteX21" fmla="*/ 590550 w 1685925"/>
                <a:gd name="connsiteY21" fmla="*/ 90487 h 262336"/>
                <a:gd name="connsiteX22" fmla="*/ 642938 w 1685925"/>
                <a:gd name="connsiteY22" fmla="*/ 119062 h 262336"/>
                <a:gd name="connsiteX23" fmla="*/ 795338 w 1685925"/>
                <a:gd name="connsiteY23" fmla="*/ 123825 h 262336"/>
                <a:gd name="connsiteX24" fmla="*/ 828675 w 1685925"/>
                <a:gd name="connsiteY24" fmla="*/ 142875 h 262336"/>
                <a:gd name="connsiteX25" fmla="*/ 842963 w 1685925"/>
                <a:gd name="connsiteY25" fmla="*/ 133350 h 262336"/>
                <a:gd name="connsiteX26" fmla="*/ 909638 w 1685925"/>
                <a:gd name="connsiteY26" fmla="*/ 114300 h 262336"/>
                <a:gd name="connsiteX27" fmla="*/ 1019175 w 1685925"/>
                <a:gd name="connsiteY27" fmla="*/ 119062 h 262336"/>
                <a:gd name="connsiteX28" fmla="*/ 1033463 w 1685925"/>
                <a:gd name="connsiteY28" fmla="*/ 138112 h 262336"/>
                <a:gd name="connsiteX29" fmla="*/ 1062038 w 1685925"/>
                <a:gd name="connsiteY29" fmla="*/ 142875 h 262336"/>
                <a:gd name="connsiteX30" fmla="*/ 1152525 w 1685925"/>
                <a:gd name="connsiteY30" fmla="*/ 147637 h 262336"/>
                <a:gd name="connsiteX31" fmla="*/ 1176338 w 1685925"/>
                <a:gd name="connsiteY31" fmla="*/ 157162 h 262336"/>
                <a:gd name="connsiteX32" fmla="*/ 1195388 w 1685925"/>
                <a:gd name="connsiteY32" fmla="*/ 166687 h 262336"/>
                <a:gd name="connsiteX33" fmla="*/ 1233488 w 1685925"/>
                <a:gd name="connsiteY33" fmla="*/ 176212 h 262336"/>
                <a:gd name="connsiteX34" fmla="*/ 1257300 w 1685925"/>
                <a:gd name="connsiteY34" fmla="*/ 185737 h 262336"/>
                <a:gd name="connsiteX35" fmla="*/ 1271588 w 1685925"/>
                <a:gd name="connsiteY35" fmla="*/ 190500 h 262336"/>
                <a:gd name="connsiteX36" fmla="*/ 1357313 w 1685925"/>
                <a:gd name="connsiteY36" fmla="*/ 238125 h 262336"/>
                <a:gd name="connsiteX37" fmla="*/ 1409700 w 1685925"/>
                <a:gd name="connsiteY37" fmla="*/ 252412 h 262336"/>
                <a:gd name="connsiteX38" fmla="*/ 1438275 w 1685925"/>
                <a:gd name="connsiteY38" fmla="*/ 247650 h 262336"/>
                <a:gd name="connsiteX39" fmla="*/ 1447800 w 1685925"/>
                <a:gd name="connsiteY39" fmla="*/ 233362 h 262336"/>
                <a:gd name="connsiteX40" fmla="*/ 1471613 w 1685925"/>
                <a:gd name="connsiteY40" fmla="*/ 223837 h 262336"/>
                <a:gd name="connsiteX41" fmla="*/ 1476375 w 1685925"/>
                <a:gd name="connsiteY41" fmla="*/ 209550 h 262336"/>
                <a:gd name="connsiteX42" fmla="*/ 1514475 w 1685925"/>
                <a:gd name="connsiteY42" fmla="*/ 195262 h 262336"/>
                <a:gd name="connsiteX43" fmla="*/ 1543050 w 1685925"/>
                <a:gd name="connsiteY43" fmla="*/ 200025 h 262336"/>
                <a:gd name="connsiteX44" fmla="*/ 1547813 w 1685925"/>
                <a:gd name="connsiteY44" fmla="*/ 219075 h 262336"/>
                <a:gd name="connsiteX45" fmla="*/ 1566863 w 1685925"/>
                <a:gd name="connsiteY45" fmla="*/ 223837 h 262336"/>
                <a:gd name="connsiteX46" fmla="*/ 1595438 w 1685925"/>
                <a:gd name="connsiteY46" fmla="*/ 242887 h 262336"/>
                <a:gd name="connsiteX47" fmla="*/ 1628775 w 1685925"/>
                <a:gd name="connsiteY47" fmla="*/ 252412 h 262336"/>
                <a:gd name="connsiteX48" fmla="*/ 1652588 w 1685925"/>
                <a:gd name="connsiteY48" fmla="*/ 257175 h 262336"/>
                <a:gd name="connsiteX49" fmla="*/ 1666875 w 1685925"/>
                <a:gd name="connsiteY49" fmla="*/ 261937 h 262336"/>
                <a:gd name="connsiteX50" fmla="*/ 1685925 w 1685925"/>
                <a:gd name="connsiteY50" fmla="*/ 261937 h 26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685925" h="262336">
                  <a:moveTo>
                    <a:pt x="0" y="166687"/>
                  </a:moveTo>
                  <a:cubicBezTo>
                    <a:pt x="9525" y="160337"/>
                    <a:pt x="18807" y="153606"/>
                    <a:pt x="28575" y="147637"/>
                  </a:cubicBezTo>
                  <a:cubicBezTo>
                    <a:pt x="47393" y="136137"/>
                    <a:pt x="68082" y="127533"/>
                    <a:pt x="85725" y="114300"/>
                  </a:cubicBezTo>
                  <a:cubicBezTo>
                    <a:pt x="108791" y="97000"/>
                    <a:pt x="97245" y="102522"/>
                    <a:pt x="119063" y="95250"/>
                  </a:cubicBezTo>
                  <a:cubicBezTo>
                    <a:pt x="143926" y="78674"/>
                    <a:pt x="122306" y="90469"/>
                    <a:pt x="157163" y="80962"/>
                  </a:cubicBezTo>
                  <a:cubicBezTo>
                    <a:pt x="166849" y="78320"/>
                    <a:pt x="175997" y="73872"/>
                    <a:pt x="185738" y="71437"/>
                  </a:cubicBezTo>
                  <a:lnTo>
                    <a:pt x="204788" y="66675"/>
                  </a:lnTo>
                  <a:cubicBezTo>
                    <a:pt x="212725" y="61912"/>
                    <a:pt x="220321" y="56527"/>
                    <a:pt x="228600" y="52387"/>
                  </a:cubicBezTo>
                  <a:cubicBezTo>
                    <a:pt x="233090" y="50142"/>
                    <a:pt x="238187" y="49388"/>
                    <a:pt x="242888" y="47625"/>
                  </a:cubicBezTo>
                  <a:cubicBezTo>
                    <a:pt x="250893" y="44623"/>
                    <a:pt x="259054" y="41923"/>
                    <a:pt x="266700" y="38100"/>
                  </a:cubicBezTo>
                  <a:cubicBezTo>
                    <a:pt x="271820" y="35540"/>
                    <a:pt x="275868" y="31135"/>
                    <a:pt x="280988" y="28575"/>
                  </a:cubicBezTo>
                  <a:cubicBezTo>
                    <a:pt x="288634" y="24752"/>
                    <a:pt x="297154" y="22873"/>
                    <a:pt x="304800" y="19050"/>
                  </a:cubicBezTo>
                  <a:cubicBezTo>
                    <a:pt x="309920" y="16490"/>
                    <a:pt x="314118" y="12365"/>
                    <a:pt x="319088" y="9525"/>
                  </a:cubicBezTo>
                  <a:cubicBezTo>
                    <a:pt x="325252" y="6003"/>
                    <a:pt x="331788" y="3175"/>
                    <a:pt x="338138" y="0"/>
                  </a:cubicBezTo>
                  <a:cubicBezTo>
                    <a:pt x="360363" y="1587"/>
                    <a:pt x="382835" y="1099"/>
                    <a:pt x="404813" y="4762"/>
                  </a:cubicBezTo>
                  <a:cubicBezTo>
                    <a:pt x="411816" y="5929"/>
                    <a:pt x="417375" y="11404"/>
                    <a:pt x="423863" y="14287"/>
                  </a:cubicBezTo>
                  <a:cubicBezTo>
                    <a:pt x="431675" y="17759"/>
                    <a:pt x="439381" y="21739"/>
                    <a:pt x="447675" y="23812"/>
                  </a:cubicBezTo>
                  <a:cubicBezTo>
                    <a:pt x="458565" y="26535"/>
                    <a:pt x="469900" y="26987"/>
                    <a:pt x="481013" y="28575"/>
                  </a:cubicBezTo>
                  <a:cubicBezTo>
                    <a:pt x="498089" y="54187"/>
                    <a:pt x="481029" y="34445"/>
                    <a:pt x="514350" y="52387"/>
                  </a:cubicBezTo>
                  <a:cubicBezTo>
                    <a:pt x="527536" y="59487"/>
                    <a:pt x="539302" y="69029"/>
                    <a:pt x="552450" y="76200"/>
                  </a:cubicBezTo>
                  <a:cubicBezTo>
                    <a:pt x="556857" y="78604"/>
                    <a:pt x="562037" y="79199"/>
                    <a:pt x="566738" y="80962"/>
                  </a:cubicBezTo>
                  <a:cubicBezTo>
                    <a:pt x="574743" y="83964"/>
                    <a:pt x="582904" y="86664"/>
                    <a:pt x="590550" y="90487"/>
                  </a:cubicBezTo>
                  <a:cubicBezTo>
                    <a:pt x="608341" y="99383"/>
                    <a:pt x="623305" y="115866"/>
                    <a:pt x="642938" y="119062"/>
                  </a:cubicBezTo>
                  <a:cubicBezTo>
                    <a:pt x="693102" y="127228"/>
                    <a:pt x="744538" y="122237"/>
                    <a:pt x="795338" y="123825"/>
                  </a:cubicBezTo>
                  <a:cubicBezTo>
                    <a:pt x="799586" y="127011"/>
                    <a:pt x="818759" y="144527"/>
                    <a:pt x="828675" y="142875"/>
                  </a:cubicBezTo>
                  <a:cubicBezTo>
                    <a:pt x="834321" y="141934"/>
                    <a:pt x="837843" y="135910"/>
                    <a:pt x="842963" y="133350"/>
                  </a:cubicBezTo>
                  <a:cubicBezTo>
                    <a:pt x="877889" y="115887"/>
                    <a:pt x="872436" y="119614"/>
                    <a:pt x="909638" y="114300"/>
                  </a:cubicBezTo>
                  <a:cubicBezTo>
                    <a:pt x="946150" y="115887"/>
                    <a:pt x="983286" y="112160"/>
                    <a:pt x="1019175" y="119062"/>
                  </a:cubicBezTo>
                  <a:cubicBezTo>
                    <a:pt x="1026970" y="120561"/>
                    <a:pt x="1026524" y="134257"/>
                    <a:pt x="1033463" y="138112"/>
                  </a:cubicBezTo>
                  <a:cubicBezTo>
                    <a:pt x="1041904" y="142802"/>
                    <a:pt x="1052412" y="142105"/>
                    <a:pt x="1062038" y="142875"/>
                  </a:cubicBezTo>
                  <a:cubicBezTo>
                    <a:pt x="1092146" y="145284"/>
                    <a:pt x="1122363" y="146050"/>
                    <a:pt x="1152525" y="147637"/>
                  </a:cubicBezTo>
                  <a:cubicBezTo>
                    <a:pt x="1160463" y="150812"/>
                    <a:pt x="1168526" y="153690"/>
                    <a:pt x="1176338" y="157162"/>
                  </a:cubicBezTo>
                  <a:cubicBezTo>
                    <a:pt x="1182826" y="160045"/>
                    <a:pt x="1188653" y="164442"/>
                    <a:pt x="1195388" y="166687"/>
                  </a:cubicBezTo>
                  <a:cubicBezTo>
                    <a:pt x="1207807" y="170827"/>
                    <a:pt x="1221333" y="171350"/>
                    <a:pt x="1233488" y="176212"/>
                  </a:cubicBezTo>
                  <a:cubicBezTo>
                    <a:pt x="1241425" y="179387"/>
                    <a:pt x="1249296" y="182735"/>
                    <a:pt x="1257300" y="185737"/>
                  </a:cubicBezTo>
                  <a:cubicBezTo>
                    <a:pt x="1262001" y="187500"/>
                    <a:pt x="1267181" y="188096"/>
                    <a:pt x="1271588" y="190500"/>
                  </a:cubicBezTo>
                  <a:cubicBezTo>
                    <a:pt x="1295478" y="203531"/>
                    <a:pt x="1330971" y="231539"/>
                    <a:pt x="1357313" y="238125"/>
                  </a:cubicBezTo>
                  <a:cubicBezTo>
                    <a:pt x="1400283" y="248868"/>
                    <a:pt x="1382994" y="243511"/>
                    <a:pt x="1409700" y="252412"/>
                  </a:cubicBezTo>
                  <a:cubicBezTo>
                    <a:pt x="1419225" y="250825"/>
                    <a:pt x="1429638" y="251968"/>
                    <a:pt x="1438275" y="247650"/>
                  </a:cubicBezTo>
                  <a:cubicBezTo>
                    <a:pt x="1443395" y="245090"/>
                    <a:pt x="1443142" y="236689"/>
                    <a:pt x="1447800" y="233362"/>
                  </a:cubicBezTo>
                  <a:cubicBezTo>
                    <a:pt x="1454757" y="228393"/>
                    <a:pt x="1463675" y="227012"/>
                    <a:pt x="1471613" y="223837"/>
                  </a:cubicBezTo>
                  <a:cubicBezTo>
                    <a:pt x="1473200" y="219075"/>
                    <a:pt x="1472825" y="213100"/>
                    <a:pt x="1476375" y="209550"/>
                  </a:cubicBezTo>
                  <a:cubicBezTo>
                    <a:pt x="1484676" y="201249"/>
                    <a:pt x="1503845" y="197920"/>
                    <a:pt x="1514475" y="195262"/>
                  </a:cubicBezTo>
                  <a:cubicBezTo>
                    <a:pt x="1524000" y="196850"/>
                    <a:pt x="1535192" y="194412"/>
                    <a:pt x="1543050" y="200025"/>
                  </a:cubicBezTo>
                  <a:cubicBezTo>
                    <a:pt x="1548376" y="203829"/>
                    <a:pt x="1543185" y="214447"/>
                    <a:pt x="1547813" y="219075"/>
                  </a:cubicBezTo>
                  <a:cubicBezTo>
                    <a:pt x="1552441" y="223703"/>
                    <a:pt x="1560513" y="222250"/>
                    <a:pt x="1566863" y="223837"/>
                  </a:cubicBezTo>
                  <a:cubicBezTo>
                    <a:pt x="1576388" y="230187"/>
                    <a:pt x="1585431" y="237327"/>
                    <a:pt x="1595438" y="242887"/>
                  </a:cubicBezTo>
                  <a:cubicBezTo>
                    <a:pt x="1600745" y="245836"/>
                    <a:pt x="1624659" y="251497"/>
                    <a:pt x="1628775" y="252412"/>
                  </a:cubicBezTo>
                  <a:cubicBezTo>
                    <a:pt x="1636677" y="254168"/>
                    <a:pt x="1644735" y="255212"/>
                    <a:pt x="1652588" y="257175"/>
                  </a:cubicBezTo>
                  <a:cubicBezTo>
                    <a:pt x="1657458" y="258393"/>
                    <a:pt x="1661906" y="261227"/>
                    <a:pt x="1666875" y="261937"/>
                  </a:cubicBezTo>
                  <a:cubicBezTo>
                    <a:pt x="1673161" y="262835"/>
                    <a:pt x="1679575" y="261937"/>
                    <a:pt x="1685925" y="26193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06D30936-C8FB-E37C-2658-575A0586E940}"/>
                </a:ext>
              </a:extLst>
            </p:cNvPr>
            <p:cNvSpPr/>
            <p:nvPr/>
          </p:nvSpPr>
          <p:spPr bwMode="gray">
            <a:xfrm>
              <a:off x="7802524" y="5798287"/>
              <a:ext cx="302502" cy="576195"/>
            </a:xfrm>
            <a:custGeom>
              <a:avLst/>
              <a:gdLst>
                <a:gd name="connsiteX0" fmla="*/ 0 w 400050"/>
                <a:gd name="connsiteY0" fmla="*/ 0 h 762000"/>
                <a:gd name="connsiteX1" fmla="*/ 9525 w 400050"/>
                <a:gd name="connsiteY1" fmla="*/ 28575 h 762000"/>
                <a:gd name="connsiteX2" fmla="*/ 33338 w 400050"/>
                <a:gd name="connsiteY2" fmla="*/ 66675 h 762000"/>
                <a:gd name="connsiteX3" fmla="*/ 47625 w 400050"/>
                <a:gd name="connsiteY3" fmla="*/ 114300 h 762000"/>
                <a:gd name="connsiteX4" fmla="*/ 52388 w 400050"/>
                <a:gd name="connsiteY4" fmla="*/ 242887 h 762000"/>
                <a:gd name="connsiteX5" fmla="*/ 71438 w 400050"/>
                <a:gd name="connsiteY5" fmla="*/ 271462 h 762000"/>
                <a:gd name="connsiteX6" fmla="*/ 80963 w 400050"/>
                <a:gd name="connsiteY6" fmla="*/ 304800 h 762000"/>
                <a:gd name="connsiteX7" fmla="*/ 95250 w 400050"/>
                <a:gd name="connsiteY7" fmla="*/ 328612 h 762000"/>
                <a:gd name="connsiteX8" fmla="*/ 133350 w 400050"/>
                <a:gd name="connsiteY8" fmla="*/ 338137 h 762000"/>
                <a:gd name="connsiteX9" fmla="*/ 147638 w 400050"/>
                <a:gd name="connsiteY9" fmla="*/ 347662 h 762000"/>
                <a:gd name="connsiteX10" fmla="*/ 180975 w 400050"/>
                <a:gd name="connsiteY10" fmla="*/ 385762 h 762000"/>
                <a:gd name="connsiteX11" fmla="*/ 185738 w 400050"/>
                <a:gd name="connsiteY11" fmla="*/ 400050 h 762000"/>
                <a:gd name="connsiteX12" fmla="*/ 195263 w 400050"/>
                <a:gd name="connsiteY12" fmla="*/ 414337 h 762000"/>
                <a:gd name="connsiteX13" fmla="*/ 219075 w 400050"/>
                <a:gd name="connsiteY13" fmla="*/ 447675 h 762000"/>
                <a:gd name="connsiteX14" fmla="*/ 228600 w 400050"/>
                <a:gd name="connsiteY14" fmla="*/ 476250 h 762000"/>
                <a:gd name="connsiteX15" fmla="*/ 233363 w 400050"/>
                <a:gd name="connsiteY15" fmla="*/ 495300 h 762000"/>
                <a:gd name="connsiteX16" fmla="*/ 242888 w 400050"/>
                <a:gd name="connsiteY16" fmla="*/ 509587 h 762000"/>
                <a:gd name="connsiteX17" fmla="*/ 252413 w 400050"/>
                <a:gd name="connsiteY17" fmla="*/ 533400 h 762000"/>
                <a:gd name="connsiteX18" fmla="*/ 257175 w 400050"/>
                <a:gd name="connsiteY18" fmla="*/ 557212 h 762000"/>
                <a:gd name="connsiteX19" fmla="*/ 261938 w 400050"/>
                <a:gd name="connsiteY19" fmla="*/ 600075 h 762000"/>
                <a:gd name="connsiteX20" fmla="*/ 295275 w 400050"/>
                <a:gd name="connsiteY20" fmla="*/ 657225 h 762000"/>
                <a:gd name="connsiteX21" fmla="*/ 304800 w 400050"/>
                <a:gd name="connsiteY21" fmla="*/ 671512 h 762000"/>
                <a:gd name="connsiteX22" fmla="*/ 314325 w 400050"/>
                <a:gd name="connsiteY22" fmla="*/ 685800 h 762000"/>
                <a:gd name="connsiteX23" fmla="*/ 319088 w 400050"/>
                <a:gd name="connsiteY23" fmla="*/ 700087 h 762000"/>
                <a:gd name="connsiteX24" fmla="*/ 342900 w 400050"/>
                <a:gd name="connsiteY24" fmla="*/ 719137 h 762000"/>
                <a:gd name="connsiteX25" fmla="*/ 357188 w 400050"/>
                <a:gd name="connsiteY25" fmla="*/ 733425 h 762000"/>
                <a:gd name="connsiteX26" fmla="*/ 385763 w 400050"/>
                <a:gd name="connsiteY26" fmla="*/ 752475 h 762000"/>
                <a:gd name="connsiteX27" fmla="*/ 400050 w 400050"/>
                <a:gd name="connsiteY27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0050" h="762000">
                  <a:moveTo>
                    <a:pt x="0" y="0"/>
                  </a:moveTo>
                  <a:cubicBezTo>
                    <a:pt x="3175" y="9525"/>
                    <a:pt x="5035" y="19595"/>
                    <a:pt x="9525" y="28575"/>
                  </a:cubicBezTo>
                  <a:cubicBezTo>
                    <a:pt x="38184" y="85892"/>
                    <a:pt x="11219" y="11378"/>
                    <a:pt x="33338" y="66675"/>
                  </a:cubicBezTo>
                  <a:cubicBezTo>
                    <a:pt x="41069" y="86002"/>
                    <a:pt x="42947" y="95586"/>
                    <a:pt x="47625" y="114300"/>
                  </a:cubicBezTo>
                  <a:cubicBezTo>
                    <a:pt x="49213" y="157162"/>
                    <a:pt x="45962" y="200479"/>
                    <a:pt x="52388" y="242887"/>
                  </a:cubicBezTo>
                  <a:cubicBezTo>
                    <a:pt x="54103" y="254205"/>
                    <a:pt x="71438" y="271462"/>
                    <a:pt x="71438" y="271462"/>
                  </a:cubicBezTo>
                  <a:cubicBezTo>
                    <a:pt x="72965" y="277571"/>
                    <a:pt x="77545" y="297964"/>
                    <a:pt x="80963" y="304800"/>
                  </a:cubicBezTo>
                  <a:cubicBezTo>
                    <a:pt x="85103" y="313079"/>
                    <a:pt x="87441" y="323642"/>
                    <a:pt x="95250" y="328612"/>
                  </a:cubicBezTo>
                  <a:cubicBezTo>
                    <a:pt x="106294" y="335640"/>
                    <a:pt x="120650" y="334962"/>
                    <a:pt x="133350" y="338137"/>
                  </a:cubicBezTo>
                  <a:cubicBezTo>
                    <a:pt x="138113" y="341312"/>
                    <a:pt x="143330" y="343893"/>
                    <a:pt x="147638" y="347662"/>
                  </a:cubicBezTo>
                  <a:cubicBezTo>
                    <a:pt x="158670" y="357315"/>
                    <a:pt x="173803" y="371419"/>
                    <a:pt x="180975" y="385762"/>
                  </a:cubicBezTo>
                  <a:cubicBezTo>
                    <a:pt x="183220" y="390252"/>
                    <a:pt x="183493" y="395560"/>
                    <a:pt x="185738" y="400050"/>
                  </a:cubicBezTo>
                  <a:cubicBezTo>
                    <a:pt x="188298" y="405169"/>
                    <a:pt x="192423" y="409367"/>
                    <a:pt x="195263" y="414337"/>
                  </a:cubicBezTo>
                  <a:cubicBezTo>
                    <a:pt x="211980" y="443591"/>
                    <a:pt x="195803" y="424401"/>
                    <a:pt x="219075" y="447675"/>
                  </a:cubicBezTo>
                  <a:cubicBezTo>
                    <a:pt x="222250" y="457200"/>
                    <a:pt x="226165" y="466510"/>
                    <a:pt x="228600" y="476250"/>
                  </a:cubicBezTo>
                  <a:cubicBezTo>
                    <a:pt x="230188" y="482600"/>
                    <a:pt x="230785" y="489284"/>
                    <a:pt x="233363" y="495300"/>
                  </a:cubicBezTo>
                  <a:cubicBezTo>
                    <a:pt x="235618" y="500561"/>
                    <a:pt x="240328" y="504468"/>
                    <a:pt x="242888" y="509587"/>
                  </a:cubicBezTo>
                  <a:cubicBezTo>
                    <a:pt x="246711" y="517234"/>
                    <a:pt x="249238" y="525462"/>
                    <a:pt x="252413" y="533400"/>
                  </a:cubicBezTo>
                  <a:cubicBezTo>
                    <a:pt x="254000" y="541337"/>
                    <a:pt x="256030" y="549199"/>
                    <a:pt x="257175" y="557212"/>
                  </a:cubicBezTo>
                  <a:cubicBezTo>
                    <a:pt x="259208" y="571443"/>
                    <a:pt x="259575" y="585895"/>
                    <a:pt x="261938" y="600075"/>
                  </a:cubicBezTo>
                  <a:cubicBezTo>
                    <a:pt x="265336" y="620461"/>
                    <a:pt x="287156" y="645046"/>
                    <a:pt x="295275" y="657225"/>
                  </a:cubicBezTo>
                  <a:lnTo>
                    <a:pt x="304800" y="671512"/>
                  </a:lnTo>
                  <a:cubicBezTo>
                    <a:pt x="307975" y="676275"/>
                    <a:pt x="312515" y="680370"/>
                    <a:pt x="314325" y="685800"/>
                  </a:cubicBezTo>
                  <a:cubicBezTo>
                    <a:pt x="315913" y="690562"/>
                    <a:pt x="315821" y="696276"/>
                    <a:pt x="319088" y="700087"/>
                  </a:cubicBezTo>
                  <a:cubicBezTo>
                    <a:pt x="325703" y="707805"/>
                    <a:pt x="335250" y="712443"/>
                    <a:pt x="342900" y="719137"/>
                  </a:cubicBezTo>
                  <a:cubicBezTo>
                    <a:pt x="347969" y="723572"/>
                    <a:pt x="351871" y="729290"/>
                    <a:pt x="357188" y="733425"/>
                  </a:cubicBezTo>
                  <a:cubicBezTo>
                    <a:pt x="366224" y="740453"/>
                    <a:pt x="376238" y="746125"/>
                    <a:pt x="385763" y="752475"/>
                  </a:cubicBezTo>
                  <a:lnTo>
                    <a:pt x="400050" y="76200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04B0DD5A-985D-C8FA-DB3A-AD36AF4ED7AC}"/>
                </a:ext>
              </a:extLst>
            </p:cNvPr>
            <p:cNvSpPr/>
            <p:nvPr/>
          </p:nvSpPr>
          <p:spPr bwMode="gray">
            <a:xfrm>
              <a:off x="8295699" y="4303783"/>
              <a:ext cx="461409" cy="1026346"/>
            </a:xfrm>
            <a:custGeom>
              <a:avLst/>
              <a:gdLst>
                <a:gd name="connsiteX0" fmla="*/ 600330 w 610199"/>
                <a:gd name="connsiteY0" fmla="*/ 1357313 h 1357313"/>
                <a:gd name="connsiteX1" fmla="*/ 600330 w 610199"/>
                <a:gd name="connsiteY1" fmla="*/ 1133475 h 1357313"/>
                <a:gd name="connsiteX2" fmla="*/ 595567 w 610199"/>
                <a:gd name="connsiteY2" fmla="*/ 1104900 h 1357313"/>
                <a:gd name="connsiteX3" fmla="*/ 576517 w 610199"/>
                <a:gd name="connsiteY3" fmla="*/ 1052513 h 1357313"/>
                <a:gd name="connsiteX4" fmla="*/ 571755 w 610199"/>
                <a:gd name="connsiteY4" fmla="*/ 1000125 h 1357313"/>
                <a:gd name="connsiteX5" fmla="*/ 562230 w 610199"/>
                <a:gd name="connsiteY5" fmla="*/ 971550 h 1357313"/>
                <a:gd name="connsiteX6" fmla="*/ 547942 w 610199"/>
                <a:gd name="connsiteY6" fmla="*/ 938213 h 1357313"/>
                <a:gd name="connsiteX7" fmla="*/ 538417 w 610199"/>
                <a:gd name="connsiteY7" fmla="*/ 923925 h 1357313"/>
                <a:gd name="connsiteX8" fmla="*/ 524130 w 610199"/>
                <a:gd name="connsiteY8" fmla="*/ 895350 h 1357313"/>
                <a:gd name="connsiteX9" fmla="*/ 509842 w 610199"/>
                <a:gd name="connsiteY9" fmla="*/ 876300 h 1357313"/>
                <a:gd name="connsiteX10" fmla="*/ 481267 w 610199"/>
                <a:gd name="connsiteY10" fmla="*/ 833438 h 1357313"/>
                <a:gd name="connsiteX11" fmla="*/ 462217 w 610199"/>
                <a:gd name="connsiteY11" fmla="*/ 800100 h 1357313"/>
                <a:gd name="connsiteX12" fmla="*/ 452692 w 610199"/>
                <a:gd name="connsiteY12" fmla="*/ 781050 h 1357313"/>
                <a:gd name="connsiteX13" fmla="*/ 447930 w 610199"/>
                <a:gd name="connsiteY13" fmla="*/ 623888 h 1357313"/>
                <a:gd name="connsiteX14" fmla="*/ 438405 w 610199"/>
                <a:gd name="connsiteY14" fmla="*/ 576263 h 1357313"/>
                <a:gd name="connsiteX15" fmla="*/ 433642 w 610199"/>
                <a:gd name="connsiteY15" fmla="*/ 561975 h 1357313"/>
                <a:gd name="connsiteX16" fmla="*/ 419355 w 610199"/>
                <a:gd name="connsiteY16" fmla="*/ 504825 h 1357313"/>
                <a:gd name="connsiteX17" fmla="*/ 390780 w 610199"/>
                <a:gd name="connsiteY17" fmla="*/ 433388 h 1357313"/>
                <a:gd name="connsiteX18" fmla="*/ 376492 w 610199"/>
                <a:gd name="connsiteY18" fmla="*/ 414338 h 1357313"/>
                <a:gd name="connsiteX19" fmla="*/ 338392 w 610199"/>
                <a:gd name="connsiteY19" fmla="*/ 385763 h 1357313"/>
                <a:gd name="connsiteX20" fmla="*/ 314580 w 610199"/>
                <a:gd name="connsiteY20" fmla="*/ 376238 h 1357313"/>
                <a:gd name="connsiteX21" fmla="*/ 300292 w 610199"/>
                <a:gd name="connsiteY21" fmla="*/ 366713 h 1357313"/>
                <a:gd name="connsiteX22" fmla="*/ 266955 w 610199"/>
                <a:gd name="connsiteY22" fmla="*/ 352425 h 1357313"/>
                <a:gd name="connsiteX23" fmla="*/ 228855 w 610199"/>
                <a:gd name="connsiteY23" fmla="*/ 333375 h 1357313"/>
                <a:gd name="connsiteX24" fmla="*/ 214567 w 610199"/>
                <a:gd name="connsiteY24" fmla="*/ 304800 h 1357313"/>
                <a:gd name="connsiteX25" fmla="*/ 200280 w 610199"/>
                <a:gd name="connsiteY25" fmla="*/ 295275 h 1357313"/>
                <a:gd name="connsiteX26" fmla="*/ 171705 w 610199"/>
                <a:gd name="connsiteY26" fmla="*/ 261938 h 1357313"/>
                <a:gd name="connsiteX27" fmla="*/ 157417 w 610199"/>
                <a:gd name="connsiteY27" fmla="*/ 257175 h 1357313"/>
                <a:gd name="connsiteX28" fmla="*/ 124080 w 610199"/>
                <a:gd name="connsiteY28" fmla="*/ 233363 h 1357313"/>
                <a:gd name="connsiteX29" fmla="*/ 66930 w 610199"/>
                <a:gd name="connsiteY29" fmla="*/ 214313 h 1357313"/>
                <a:gd name="connsiteX30" fmla="*/ 33592 w 610199"/>
                <a:gd name="connsiteY30" fmla="*/ 180975 h 1357313"/>
                <a:gd name="connsiteX31" fmla="*/ 5017 w 610199"/>
                <a:gd name="connsiteY31" fmla="*/ 133350 h 1357313"/>
                <a:gd name="connsiteX32" fmla="*/ 5017 w 610199"/>
                <a:gd name="connsiteY32" fmla="*/ 52388 h 1357313"/>
                <a:gd name="connsiteX33" fmla="*/ 5017 w 610199"/>
                <a:gd name="connsiteY33" fmla="*/ 0 h 135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10199" h="1357313">
                  <a:moveTo>
                    <a:pt x="600330" y="1357313"/>
                  </a:moveTo>
                  <a:cubicBezTo>
                    <a:pt x="617797" y="1269968"/>
                    <a:pt x="608361" y="1326211"/>
                    <a:pt x="600330" y="1133475"/>
                  </a:cubicBezTo>
                  <a:cubicBezTo>
                    <a:pt x="599928" y="1123827"/>
                    <a:pt x="597909" y="1114268"/>
                    <a:pt x="595567" y="1104900"/>
                  </a:cubicBezTo>
                  <a:cubicBezTo>
                    <a:pt x="591490" y="1088593"/>
                    <a:pt x="582830" y="1068296"/>
                    <a:pt x="576517" y="1052513"/>
                  </a:cubicBezTo>
                  <a:cubicBezTo>
                    <a:pt x="574930" y="1035050"/>
                    <a:pt x="574802" y="1017393"/>
                    <a:pt x="571755" y="1000125"/>
                  </a:cubicBezTo>
                  <a:cubicBezTo>
                    <a:pt x="570010" y="990238"/>
                    <a:pt x="565405" y="981075"/>
                    <a:pt x="562230" y="971550"/>
                  </a:cubicBezTo>
                  <a:cubicBezTo>
                    <a:pt x="556888" y="955524"/>
                    <a:pt x="557356" y="954687"/>
                    <a:pt x="547942" y="938213"/>
                  </a:cubicBezTo>
                  <a:cubicBezTo>
                    <a:pt x="545102" y="933243"/>
                    <a:pt x="541197" y="928929"/>
                    <a:pt x="538417" y="923925"/>
                  </a:cubicBezTo>
                  <a:cubicBezTo>
                    <a:pt x="533245" y="914616"/>
                    <a:pt x="529609" y="904482"/>
                    <a:pt x="524130" y="895350"/>
                  </a:cubicBezTo>
                  <a:cubicBezTo>
                    <a:pt x="520046" y="888544"/>
                    <a:pt x="513697" y="883239"/>
                    <a:pt x="509842" y="876300"/>
                  </a:cubicBezTo>
                  <a:cubicBezTo>
                    <a:pt x="485728" y="832896"/>
                    <a:pt x="518184" y="870355"/>
                    <a:pt x="481267" y="833438"/>
                  </a:cubicBezTo>
                  <a:cubicBezTo>
                    <a:pt x="471912" y="805368"/>
                    <a:pt x="482812" y="833051"/>
                    <a:pt x="462217" y="800100"/>
                  </a:cubicBezTo>
                  <a:cubicBezTo>
                    <a:pt x="458454" y="794080"/>
                    <a:pt x="455867" y="787400"/>
                    <a:pt x="452692" y="781050"/>
                  </a:cubicBezTo>
                  <a:cubicBezTo>
                    <a:pt x="451105" y="728663"/>
                    <a:pt x="450614" y="676231"/>
                    <a:pt x="447930" y="623888"/>
                  </a:cubicBezTo>
                  <a:cubicBezTo>
                    <a:pt x="447346" y="612493"/>
                    <a:pt x="441947" y="588660"/>
                    <a:pt x="438405" y="576263"/>
                  </a:cubicBezTo>
                  <a:cubicBezTo>
                    <a:pt x="437026" y="571436"/>
                    <a:pt x="434936" y="566826"/>
                    <a:pt x="433642" y="561975"/>
                  </a:cubicBezTo>
                  <a:cubicBezTo>
                    <a:pt x="428583" y="543002"/>
                    <a:pt x="425565" y="523454"/>
                    <a:pt x="419355" y="504825"/>
                  </a:cubicBezTo>
                  <a:cubicBezTo>
                    <a:pt x="403026" y="455837"/>
                    <a:pt x="410152" y="460508"/>
                    <a:pt x="390780" y="433388"/>
                  </a:cubicBezTo>
                  <a:cubicBezTo>
                    <a:pt x="386166" y="426929"/>
                    <a:pt x="381658" y="420365"/>
                    <a:pt x="376492" y="414338"/>
                  </a:cubicBezTo>
                  <a:cubicBezTo>
                    <a:pt x="364094" y="399874"/>
                    <a:pt x="356388" y="394761"/>
                    <a:pt x="338392" y="385763"/>
                  </a:cubicBezTo>
                  <a:cubicBezTo>
                    <a:pt x="330746" y="381940"/>
                    <a:pt x="322226" y="380061"/>
                    <a:pt x="314580" y="376238"/>
                  </a:cubicBezTo>
                  <a:cubicBezTo>
                    <a:pt x="309460" y="373678"/>
                    <a:pt x="305412" y="369273"/>
                    <a:pt x="300292" y="366713"/>
                  </a:cubicBezTo>
                  <a:cubicBezTo>
                    <a:pt x="232824" y="332978"/>
                    <a:pt x="356180" y="401993"/>
                    <a:pt x="266955" y="352425"/>
                  </a:cubicBezTo>
                  <a:cubicBezTo>
                    <a:pt x="233214" y="333681"/>
                    <a:pt x="254973" y="342082"/>
                    <a:pt x="228855" y="333375"/>
                  </a:cubicBezTo>
                  <a:cubicBezTo>
                    <a:pt x="224981" y="321756"/>
                    <a:pt x="223798" y="314032"/>
                    <a:pt x="214567" y="304800"/>
                  </a:cubicBezTo>
                  <a:cubicBezTo>
                    <a:pt x="210520" y="300753"/>
                    <a:pt x="205042" y="298450"/>
                    <a:pt x="200280" y="295275"/>
                  </a:cubicBezTo>
                  <a:cubicBezTo>
                    <a:pt x="191127" y="281546"/>
                    <a:pt x="186403" y="272436"/>
                    <a:pt x="171705" y="261938"/>
                  </a:cubicBezTo>
                  <a:cubicBezTo>
                    <a:pt x="167620" y="259020"/>
                    <a:pt x="162180" y="258763"/>
                    <a:pt x="157417" y="257175"/>
                  </a:cubicBezTo>
                  <a:cubicBezTo>
                    <a:pt x="146305" y="249238"/>
                    <a:pt x="135876" y="240244"/>
                    <a:pt x="124080" y="233363"/>
                  </a:cubicBezTo>
                  <a:cubicBezTo>
                    <a:pt x="110816" y="225626"/>
                    <a:pt x="79720" y="217967"/>
                    <a:pt x="66930" y="214313"/>
                  </a:cubicBezTo>
                  <a:cubicBezTo>
                    <a:pt x="55817" y="203200"/>
                    <a:pt x="42309" y="194051"/>
                    <a:pt x="33592" y="180975"/>
                  </a:cubicBezTo>
                  <a:cubicBezTo>
                    <a:pt x="10604" y="146493"/>
                    <a:pt x="19662" y="162639"/>
                    <a:pt x="5017" y="133350"/>
                  </a:cubicBezTo>
                  <a:cubicBezTo>
                    <a:pt x="-4398" y="86273"/>
                    <a:pt x="1718" y="128280"/>
                    <a:pt x="5017" y="52388"/>
                  </a:cubicBezTo>
                  <a:cubicBezTo>
                    <a:pt x="5775" y="34942"/>
                    <a:pt x="5017" y="17463"/>
                    <a:pt x="501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70F888E0-1B63-ED5A-762C-0186B9C2155D}"/>
                </a:ext>
              </a:extLst>
            </p:cNvPr>
            <p:cNvSpPr/>
            <p:nvPr/>
          </p:nvSpPr>
          <p:spPr bwMode="gray">
            <a:xfrm>
              <a:off x="8961933" y="4541463"/>
              <a:ext cx="428728" cy="1080364"/>
            </a:xfrm>
            <a:custGeom>
              <a:avLst/>
              <a:gdLst>
                <a:gd name="connsiteX0" fmla="*/ 566980 w 566980"/>
                <a:gd name="connsiteY0" fmla="*/ 1428750 h 1428750"/>
                <a:gd name="connsiteX1" fmla="*/ 524117 w 566980"/>
                <a:gd name="connsiteY1" fmla="*/ 1390650 h 1428750"/>
                <a:gd name="connsiteX2" fmla="*/ 514592 w 566980"/>
                <a:gd name="connsiteY2" fmla="*/ 1371600 h 1428750"/>
                <a:gd name="connsiteX3" fmla="*/ 505067 w 566980"/>
                <a:gd name="connsiteY3" fmla="*/ 1357313 h 1428750"/>
                <a:gd name="connsiteX4" fmla="*/ 495542 w 566980"/>
                <a:gd name="connsiteY4" fmla="*/ 1333500 h 1428750"/>
                <a:gd name="connsiteX5" fmla="*/ 476492 w 566980"/>
                <a:gd name="connsiteY5" fmla="*/ 1300163 h 1428750"/>
                <a:gd name="connsiteX6" fmla="*/ 452680 w 566980"/>
                <a:gd name="connsiteY6" fmla="*/ 1257300 h 1428750"/>
                <a:gd name="connsiteX7" fmla="*/ 443155 w 566980"/>
                <a:gd name="connsiteY7" fmla="*/ 1238250 h 1428750"/>
                <a:gd name="connsiteX8" fmla="*/ 414580 w 566980"/>
                <a:gd name="connsiteY8" fmla="*/ 1204913 h 1428750"/>
                <a:gd name="connsiteX9" fmla="*/ 395530 w 566980"/>
                <a:gd name="connsiteY9" fmla="*/ 1166813 h 1428750"/>
                <a:gd name="connsiteX10" fmla="*/ 376480 w 566980"/>
                <a:gd name="connsiteY10" fmla="*/ 1128713 h 1428750"/>
                <a:gd name="connsiteX11" fmla="*/ 362192 w 566980"/>
                <a:gd name="connsiteY11" fmla="*/ 1114425 h 1428750"/>
                <a:gd name="connsiteX12" fmla="*/ 343142 w 566980"/>
                <a:gd name="connsiteY12" fmla="*/ 1090613 h 1428750"/>
                <a:gd name="connsiteX13" fmla="*/ 309805 w 566980"/>
                <a:gd name="connsiteY13" fmla="*/ 1057275 h 1428750"/>
                <a:gd name="connsiteX14" fmla="*/ 290755 w 566980"/>
                <a:gd name="connsiteY14" fmla="*/ 1023938 h 1428750"/>
                <a:gd name="connsiteX15" fmla="*/ 271705 w 566980"/>
                <a:gd name="connsiteY15" fmla="*/ 1004888 h 1428750"/>
                <a:gd name="connsiteX16" fmla="*/ 252655 w 566980"/>
                <a:gd name="connsiteY16" fmla="*/ 966788 h 1428750"/>
                <a:gd name="connsiteX17" fmla="*/ 228842 w 566980"/>
                <a:gd name="connsiteY17" fmla="*/ 933450 h 1428750"/>
                <a:gd name="connsiteX18" fmla="*/ 219317 w 566980"/>
                <a:gd name="connsiteY18" fmla="*/ 919163 h 1428750"/>
                <a:gd name="connsiteX19" fmla="*/ 205030 w 566980"/>
                <a:gd name="connsiteY19" fmla="*/ 904875 h 1428750"/>
                <a:gd name="connsiteX20" fmla="*/ 195505 w 566980"/>
                <a:gd name="connsiteY20" fmla="*/ 871538 h 1428750"/>
                <a:gd name="connsiteX21" fmla="*/ 190742 w 566980"/>
                <a:gd name="connsiteY21" fmla="*/ 823913 h 1428750"/>
                <a:gd name="connsiteX22" fmla="*/ 181217 w 566980"/>
                <a:gd name="connsiteY22" fmla="*/ 790575 h 1428750"/>
                <a:gd name="connsiteX23" fmla="*/ 176455 w 566980"/>
                <a:gd name="connsiteY23" fmla="*/ 766763 h 1428750"/>
                <a:gd name="connsiteX24" fmla="*/ 166930 w 566980"/>
                <a:gd name="connsiteY24" fmla="*/ 747713 h 1428750"/>
                <a:gd name="connsiteX25" fmla="*/ 162167 w 566980"/>
                <a:gd name="connsiteY25" fmla="*/ 728663 h 1428750"/>
                <a:gd name="connsiteX26" fmla="*/ 138355 w 566980"/>
                <a:gd name="connsiteY26" fmla="*/ 690563 h 1428750"/>
                <a:gd name="connsiteX27" fmla="*/ 114542 w 566980"/>
                <a:gd name="connsiteY27" fmla="*/ 657225 h 1428750"/>
                <a:gd name="connsiteX28" fmla="*/ 100255 w 566980"/>
                <a:gd name="connsiteY28" fmla="*/ 647700 h 1428750"/>
                <a:gd name="connsiteX29" fmla="*/ 62155 w 566980"/>
                <a:gd name="connsiteY29" fmla="*/ 609600 h 1428750"/>
                <a:gd name="connsiteX30" fmla="*/ 33580 w 566980"/>
                <a:gd name="connsiteY30" fmla="*/ 581025 h 1428750"/>
                <a:gd name="connsiteX31" fmla="*/ 14530 w 566980"/>
                <a:gd name="connsiteY31" fmla="*/ 547688 h 1428750"/>
                <a:gd name="connsiteX32" fmla="*/ 5005 w 566980"/>
                <a:gd name="connsiteY32" fmla="*/ 495300 h 1428750"/>
                <a:gd name="connsiteX33" fmla="*/ 9767 w 566980"/>
                <a:gd name="connsiteY33" fmla="*/ 419100 h 1428750"/>
                <a:gd name="connsiteX34" fmla="*/ 14530 w 566980"/>
                <a:gd name="connsiteY34" fmla="*/ 385763 h 1428750"/>
                <a:gd name="connsiteX35" fmla="*/ 28817 w 566980"/>
                <a:gd name="connsiteY35" fmla="*/ 366713 h 1428750"/>
                <a:gd name="connsiteX36" fmla="*/ 43105 w 566980"/>
                <a:gd name="connsiteY36" fmla="*/ 319088 h 1428750"/>
                <a:gd name="connsiteX37" fmla="*/ 47867 w 566980"/>
                <a:gd name="connsiteY37" fmla="*/ 185738 h 1428750"/>
                <a:gd name="connsiteX38" fmla="*/ 43105 w 566980"/>
                <a:gd name="connsiteY38" fmla="*/ 95250 h 1428750"/>
                <a:gd name="connsiteX39" fmla="*/ 38342 w 566980"/>
                <a:gd name="connsiteY39" fmla="*/ 80963 h 1428750"/>
                <a:gd name="connsiteX40" fmla="*/ 24055 w 566980"/>
                <a:gd name="connsiteY40" fmla="*/ 57150 h 1428750"/>
                <a:gd name="connsiteX41" fmla="*/ 14530 w 566980"/>
                <a:gd name="connsiteY41" fmla="*/ 42863 h 1428750"/>
                <a:gd name="connsiteX42" fmla="*/ 9767 w 566980"/>
                <a:gd name="connsiteY42" fmla="*/ 28575 h 1428750"/>
                <a:gd name="connsiteX43" fmla="*/ 242 w 566980"/>
                <a:gd name="connsiteY43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66980" h="1428750">
                  <a:moveTo>
                    <a:pt x="566980" y="1428750"/>
                  </a:moveTo>
                  <a:cubicBezTo>
                    <a:pt x="563187" y="1425590"/>
                    <a:pt x="530899" y="1400144"/>
                    <a:pt x="524117" y="1390650"/>
                  </a:cubicBezTo>
                  <a:cubicBezTo>
                    <a:pt x="519990" y="1384873"/>
                    <a:pt x="518114" y="1377764"/>
                    <a:pt x="514592" y="1371600"/>
                  </a:cubicBezTo>
                  <a:cubicBezTo>
                    <a:pt x="511752" y="1366630"/>
                    <a:pt x="507627" y="1362432"/>
                    <a:pt x="505067" y="1357313"/>
                  </a:cubicBezTo>
                  <a:cubicBezTo>
                    <a:pt x="501244" y="1349666"/>
                    <a:pt x="499014" y="1341312"/>
                    <a:pt x="495542" y="1333500"/>
                  </a:cubicBezTo>
                  <a:cubicBezTo>
                    <a:pt x="487486" y="1315373"/>
                    <a:pt x="486708" y="1315486"/>
                    <a:pt x="476492" y="1300163"/>
                  </a:cubicBezTo>
                  <a:cubicBezTo>
                    <a:pt x="456867" y="1241288"/>
                    <a:pt x="479413" y="1294727"/>
                    <a:pt x="452680" y="1257300"/>
                  </a:cubicBezTo>
                  <a:cubicBezTo>
                    <a:pt x="448554" y="1251523"/>
                    <a:pt x="447415" y="1243930"/>
                    <a:pt x="443155" y="1238250"/>
                  </a:cubicBezTo>
                  <a:cubicBezTo>
                    <a:pt x="419835" y="1207156"/>
                    <a:pt x="429229" y="1231769"/>
                    <a:pt x="414580" y="1204913"/>
                  </a:cubicBezTo>
                  <a:cubicBezTo>
                    <a:pt x="407781" y="1192448"/>
                    <a:pt x="400803" y="1179997"/>
                    <a:pt x="395530" y="1166813"/>
                  </a:cubicBezTo>
                  <a:cubicBezTo>
                    <a:pt x="388796" y="1149978"/>
                    <a:pt x="387455" y="1141883"/>
                    <a:pt x="376480" y="1128713"/>
                  </a:cubicBezTo>
                  <a:cubicBezTo>
                    <a:pt x="372168" y="1123539"/>
                    <a:pt x="366627" y="1119494"/>
                    <a:pt x="362192" y="1114425"/>
                  </a:cubicBezTo>
                  <a:cubicBezTo>
                    <a:pt x="355498" y="1106775"/>
                    <a:pt x="350011" y="1098106"/>
                    <a:pt x="343142" y="1090613"/>
                  </a:cubicBezTo>
                  <a:cubicBezTo>
                    <a:pt x="332523" y="1079028"/>
                    <a:pt x="316833" y="1071331"/>
                    <a:pt x="309805" y="1057275"/>
                  </a:cubicBezTo>
                  <a:cubicBezTo>
                    <a:pt x="304399" y="1046463"/>
                    <a:pt x="298834" y="1033363"/>
                    <a:pt x="290755" y="1023938"/>
                  </a:cubicBezTo>
                  <a:cubicBezTo>
                    <a:pt x="284911" y="1017120"/>
                    <a:pt x="276686" y="1012360"/>
                    <a:pt x="271705" y="1004888"/>
                  </a:cubicBezTo>
                  <a:cubicBezTo>
                    <a:pt x="263829" y="993074"/>
                    <a:pt x="260531" y="978602"/>
                    <a:pt x="252655" y="966788"/>
                  </a:cubicBezTo>
                  <a:cubicBezTo>
                    <a:pt x="230216" y="933129"/>
                    <a:pt x="258367" y="974783"/>
                    <a:pt x="228842" y="933450"/>
                  </a:cubicBezTo>
                  <a:cubicBezTo>
                    <a:pt x="225515" y="928793"/>
                    <a:pt x="222981" y="923560"/>
                    <a:pt x="219317" y="919163"/>
                  </a:cubicBezTo>
                  <a:cubicBezTo>
                    <a:pt x="215005" y="913989"/>
                    <a:pt x="209792" y="909638"/>
                    <a:pt x="205030" y="904875"/>
                  </a:cubicBezTo>
                  <a:cubicBezTo>
                    <a:pt x="201636" y="894693"/>
                    <a:pt x="197001" y="882010"/>
                    <a:pt x="195505" y="871538"/>
                  </a:cubicBezTo>
                  <a:cubicBezTo>
                    <a:pt x="193249" y="855744"/>
                    <a:pt x="193515" y="839624"/>
                    <a:pt x="190742" y="823913"/>
                  </a:cubicBezTo>
                  <a:cubicBezTo>
                    <a:pt x="188733" y="812532"/>
                    <a:pt x="184020" y="801787"/>
                    <a:pt x="181217" y="790575"/>
                  </a:cubicBezTo>
                  <a:cubicBezTo>
                    <a:pt x="179254" y="782722"/>
                    <a:pt x="179015" y="774442"/>
                    <a:pt x="176455" y="766763"/>
                  </a:cubicBezTo>
                  <a:cubicBezTo>
                    <a:pt x="174210" y="760028"/>
                    <a:pt x="169423" y="754360"/>
                    <a:pt x="166930" y="747713"/>
                  </a:cubicBezTo>
                  <a:cubicBezTo>
                    <a:pt x="164632" y="741584"/>
                    <a:pt x="164465" y="734792"/>
                    <a:pt x="162167" y="728663"/>
                  </a:cubicBezTo>
                  <a:cubicBezTo>
                    <a:pt x="155100" y="709819"/>
                    <a:pt x="150185" y="707125"/>
                    <a:pt x="138355" y="690563"/>
                  </a:cubicBezTo>
                  <a:cubicBezTo>
                    <a:pt x="131593" y="681095"/>
                    <a:pt x="122328" y="665011"/>
                    <a:pt x="114542" y="657225"/>
                  </a:cubicBezTo>
                  <a:cubicBezTo>
                    <a:pt x="110495" y="653178"/>
                    <a:pt x="104490" y="651550"/>
                    <a:pt x="100255" y="647700"/>
                  </a:cubicBezTo>
                  <a:cubicBezTo>
                    <a:pt x="86965" y="635618"/>
                    <a:pt x="72932" y="623968"/>
                    <a:pt x="62155" y="609600"/>
                  </a:cubicBezTo>
                  <a:cubicBezTo>
                    <a:pt x="44433" y="585971"/>
                    <a:pt x="54471" y="594953"/>
                    <a:pt x="33580" y="581025"/>
                  </a:cubicBezTo>
                  <a:cubicBezTo>
                    <a:pt x="19010" y="537322"/>
                    <a:pt x="43366" y="605359"/>
                    <a:pt x="14530" y="547688"/>
                  </a:cubicBezTo>
                  <a:cubicBezTo>
                    <a:pt x="10037" y="538703"/>
                    <a:pt x="5559" y="499180"/>
                    <a:pt x="5005" y="495300"/>
                  </a:cubicBezTo>
                  <a:cubicBezTo>
                    <a:pt x="6592" y="469900"/>
                    <a:pt x="7562" y="444454"/>
                    <a:pt x="9767" y="419100"/>
                  </a:cubicBezTo>
                  <a:cubicBezTo>
                    <a:pt x="10739" y="407917"/>
                    <a:pt x="10694" y="396312"/>
                    <a:pt x="14530" y="385763"/>
                  </a:cubicBezTo>
                  <a:cubicBezTo>
                    <a:pt x="17243" y="378303"/>
                    <a:pt x="24055" y="373063"/>
                    <a:pt x="28817" y="366713"/>
                  </a:cubicBezTo>
                  <a:cubicBezTo>
                    <a:pt x="32771" y="354850"/>
                    <a:pt x="42476" y="326429"/>
                    <a:pt x="43105" y="319088"/>
                  </a:cubicBezTo>
                  <a:cubicBezTo>
                    <a:pt x="46903" y="274772"/>
                    <a:pt x="46280" y="230188"/>
                    <a:pt x="47867" y="185738"/>
                  </a:cubicBezTo>
                  <a:cubicBezTo>
                    <a:pt x="46280" y="155575"/>
                    <a:pt x="45840" y="125330"/>
                    <a:pt x="43105" y="95250"/>
                  </a:cubicBezTo>
                  <a:cubicBezTo>
                    <a:pt x="42651" y="90251"/>
                    <a:pt x="40587" y="85453"/>
                    <a:pt x="38342" y="80963"/>
                  </a:cubicBezTo>
                  <a:cubicBezTo>
                    <a:pt x="34202" y="72684"/>
                    <a:pt x="28961" y="65000"/>
                    <a:pt x="24055" y="57150"/>
                  </a:cubicBezTo>
                  <a:cubicBezTo>
                    <a:pt x="21022" y="52296"/>
                    <a:pt x="17090" y="47982"/>
                    <a:pt x="14530" y="42863"/>
                  </a:cubicBezTo>
                  <a:cubicBezTo>
                    <a:pt x="12285" y="38373"/>
                    <a:pt x="12012" y="33065"/>
                    <a:pt x="9767" y="28575"/>
                  </a:cubicBezTo>
                  <a:cubicBezTo>
                    <a:pt x="-2400" y="4242"/>
                    <a:pt x="242" y="25074"/>
                    <a:pt x="242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93FC6AC5-8B12-EE61-84E5-E72C48756591}"/>
                </a:ext>
              </a:extLst>
            </p:cNvPr>
            <p:cNvSpPr/>
            <p:nvPr/>
          </p:nvSpPr>
          <p:spPr bwMode="gray">
            <a:xfrm>
              <a:off x="8792860" y="4840364"/>
              <a:ext cx="885899" cy="277293"/>
            </a:xfrm>
            <a:custGeom>
              <a:avLst/>
              <a:gdLst>
                <a:gd name="connsiteX0" fmla="*/ 0 w 1171575"/>
                <a:gd name="connsiteY0" fmla="*/ 366712 h 366712"/>
                <a:gd name="connsiteX1" fmla="*/ 38100 w 1171575"/>
                <a:gd name="connsiteY1" fmla="*/ 333375 h 366712"/>
                <a:gd name="connsiteX2" fmla="*/ 52387 w 1171575"/>
                <a:gd name="connsiteY2" fmla="*/ 319087 h 366712"/>
                <a:gd name="connsiteX3" fmla="*/ 61912 w 1171575"/>
                <a:gd name="connsiteY3" fmla="*/ 300037 h 366712"/>
                <a:gd name="connsiteX4" fmla="*/ 90487 w 1171575"/>
                <a:gd name="connsiteY4" fmla="*/ 290512 h 366712"/>
                <a:gd name="connsiteX5" fmla="*/ 100012 w 1171575"/>
                <a:gd name="connsiteY5" fmla="*/ 271462 h 366712"/>
                <a:gd name="connsiteX6" fmla="*/ 119062 w 1171575"/>
                <a:gd name="connsiteY6" fmla="*/ 238125 h 366712"/>
                <a:gd name="connsiteX7" fmla="*/ 147637 w 1171575"/>
                <a:gd name="connsiteY7" fmla="*/ 223837 h 366712"/>
                <a:gd name="connsiteX8" fmla="*/ 161925 w 1171575"/>
                <a:gd name="connsiteY8" fmla="*/ 214312 h 366712"/>
                <a:gd name="connsiteX9" fmla="*/ 176212 w 1171575"/>
                <a:gd name="connsiteY9" fmla="*/ 209550 h 366712"/>
                <a:gd name="connsiteX10" fmla="*/ 233362 w 1171575"/>
                <a:gd name="connsiteY10" fmla="*/ 200025 h 366712"/>
                <a:gd name="connsiteX11" fmla="*/ 252412 w 1171575"/>
                <a:gd name="connsiteY11" fmla="*/ 190500 h 366712"/>
                <a:gd name="connsiteX12" fmla="*/ 285750 w 1171575"/>
                <a:gd name="connsiteY12" fmla="*/ 161925 h 366712"/>
                <a:gd name="connsiteX13" fmla="*/ 295275 w 1171575"/>
                <a:gd name="connsiteY13" fmla="*/ 147637 h 366712"/>
                <a:gd name="connsiteX14" fmla="*/ 376237 w 1171575"/>
                <a:gd name="connsiteY14" fmla="*/ 76200 h 366712"/>
                <a:gd name="connsiteX15" fmla="*/ 385762 w 1171575"/>
                <a:gd name="connsiteY15" fmla="*/ 61912 h 366712"/>
                <a:gd name="connsiteX16" fmla="*/ 390525 w 1171575"/>
                <a:gd name="connsiteY16" fmla="*/ 47625 h 366712"/>
                <a:gd name="connsiteX17" fmla="*/ 419100 w 1171575"/>
                <a:gd name="connsiteY17" fmla="*/ 23812 h 366712"/>
                <a:gd name="connsiteX18" fmla="*/ 438150 w 1171575"/>
                <a:gd name="connsiteY18" fmla="*/ 4762 h 366712"/>
                <a:gd name="connsiteX19" fmla="*/ 466725 w 1171575"/>
                <a:gd name="connsiteY19" fmla="*/ 0 h 366712"/>
                <a:gd name="connsiteX20" fmla="*/ 547687 w 1171575"/>
                <a:gd name="connsiteY20" fmla="*/ 14287 h 366712"/>
                <a:gd name="connsiteX21" fmla="*/ 581025 w 1171575"/>
                <a:gd name="connsiteY21" fmla="*/ 38100 h 366712"/>
                <a:gd name="connsiteX22" fmla="*/ 623887 w 1171575"/>
                <a:gd name="connsiteY22" fmla="*/ 47625 h 366712"/>
                <a:gd name="connsiteX23" fmla="*/ 652462 w 1171575"/>
                <a:gd name="connsiteY23" fmla="*/ 61912 h 366712"/>
                <a:gd name="connsiteX24" fmla="*/ 666750 w 1171575"/>
                <a:gd name="connsiteY24" fmla="*/ 71437 h 366712"/>
                <a:gd name="connsiteX25" fmla="*/ 681037 w 1171575"/>
                <a:gd name="connsiteY25" fmla="*/ 76200 h 366712"/>
                <a:gd name="connsiteX26" fmla="*/ 723900 w 1171575"/>
                <a:gd name="connsiteY26" fmla="*/ 100012 h 366712"/>
                <a:gd name="connsiteX27" fmla="*/ 804862 w 1171575"/>
                <a:gd name="connsiteY27" fmla="*/ 109537 h 366712"/>
                <a:gd name="connsiteX28" fmla="*/ 823912 w 1171575"/>
                <a:gd name="connsiteY28" fmla="*/ 123825 h 366712"/>
                <a:gd name="connsiteX29" fmla="*/ 871537 w 1171575"/>
                <a:gd name="connsiteY29" fmla="*/ 128587 h 366712"/>
                <a:gd name="connsiteX30" fmla="*/ 895350 w 1171575"/>
                <a:gd name="connsiteY30" fmla="*/ 133350 h 366712"/>
                <a:gd name="connsiteX31" fmla="*/ 952500 w 1171575"/>
                <a:gd name="connsiteY31" fmla="*/ 128587 h 366712"/>
                <a:gd name="connsiteX32" fmla="*/ 981075 w 1171575"/>
                <a:gd name="connsiteY32" fmla="*/ 119062 h 366712"/>
                <a:gd name="connsiteX33" fmla="*/ 1000125 w 1171575"/>
                <a:gd name="connsiteY33" fmla="*/ 114300 h 366712"/>
                <a:gd name="connsiteX34" fmla="*/ 1014412 w 1171575"/>
                <a:gd name="connsiteY34" fmla="*/ 109537 h 366712"/>
                <a:gd name="connsiteX35" fmla="*/ 1047750 w 1171575"/>
                <a:gd name="connsiteY35" fmla="*/ 100012 h 366712"/>
                <a:gd name="connsiteX36" fmla="*/ 1095375 w 1171575"/>
                <a:gd name="connsiteY36" fmla="*/ 85725 h 366712"/>
                <a:gd name="connsiteX37" fmla="*/ 1109662 w 1171575"/>
                <a:gd name="connsiteY37" fmla="*/ 80962 h 366712"/>
                <a:gd name="connsiteX38" fmla="*/ 1143000 w 1171575"/>
                <a:gd name="connsiteY38" fmla="*/ 61912 h 366712"/>
                <a:gd name="connsiteX39" fmla="*/ 1157287 w 1171575"/>
                <a:gd name="connsiteY39" fmla="*/ 57150 h 366712"/>
                <a:gd name="connsiteX40" fmla="*/ 1171575 w 1171575"/>
                <a:gd name="connsiteY40" fmla="*/ 47625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171575" h="366712">
                  <a:moveTo>
                    <a:pt x="0" y="366712"/>
                  </a:moveTo>
                  <a:cubicBezTo>
                    <a:pt x="37421" y="344260"/>
                    <a:pt x="12425" y="363330"/>
                    <a:pt x="38100" y="333375"/>
                  </a:cubicBezTo>
                  <a:cubicBezTo>
                    <a:pt x="42483" y="328261"/>
                    <a:pt x="48472" y="324568"/>
                    <a:pt x="52387" y="319087"/>
                  </a:cubicBezTo>
                  <a:cubicBezTo>
                    <a:pt x="56513" y="313310"/>
                    <a:pt x="56232" y="304297"/>
                    <a:pt x="61912" y="300037"/>
                  </a:cubicBezTo>
                  <a:cubicBezTo>
                    <a:pt x="69944" y="294013"/>
                    <a:pt x="80962" y="293687"/>
                    <a:pt x="90487" y="290512"/>
                  </a:cubicBezTo>
                  <a:cubicBezTo>
                    <a:pt x="93662" y="284162"/>
                    <a:pt x="97215" y="277987"/>
                    <a:pt x="100012" y="271462"/>
                  </a:cubicBezTo>
                  <a:cubicBezTo>
                    <a:pt x="108185" y="252393"/>
                    <a:pt x="100341" y="256846"/>
                    <a:pt x="119062" y="238125"/>
                  </a:cubicBezTo>
                  <a:cubicBezTo>
                    <a:pt x="132709" y="224478"/>
                    <a:pt x="132146" y="231583"/>
                    <a:pt x="147637" y="223837"/>
                  </a:cubicBezTo>
                  <a:cubicBezTo>
                    <a:pt x="152757" y="221277"/>
                    <a:pt x="156805" y="216872"/>
                    <a:pt x="161925" y="214312"/>
                  </a:cubicBezTo>
                  <a:cubicBezTo>
                    <a:pt x="166415" y="212067"/>
                    <a:pt x="171342" y="210768"/>
                    <a:pt x="176212" y="209550"/>
                  </a:cubicBezTo>
                  <a:cubicBezTo>
                    <a:pt x="194790" y="204905"/>
                    <a:pt x="214534" y="202714"/>
                    <a:pt x="233362" y="200025"/>
                  </a:cubicBezTo>
                  <a:cubicBezTo>
                    <a:pt x="239712" y="196850"/>
                    <a:pt x="246392" y="194263"/>
                    <a:pt x="252412" y="190500"/>
                  </a:cubicBezTo>
                  <a:cubicBezTo>
                    <a:pt x="263376" y="183647"/>
                    <a:pt x="277282" y="172087"/>
                    <a:pt x="285750" y="161925"/>
                  </a:cubicBezTo>
                  <a:cubicBezTo>
                    <a:pt x="289414" y="157528"/>
                    <a:pt x="291040" y="151487"/>
                    <a:pt x="295275" y="147637"/>
                  </a:cubicBezTo>
                  <a:cubicBezTo>
                    <a:pt x="321586" y="123718"/>
                    <a:pt x="355830" y="106812"/>
                    <a:pt x="376237" y="76200"/>
                  </a:cubicBezTo>
                  <a:cubicBezTo>
                    <a:pt x="379412" y="71437"/>
                    <a:pt x="383202" y="67032"/>
                    <a:pt x="385762" y="61912"/>
                  </a:cubicBezTo>
                  <a:cubicBezTo>
                    <a:pt x="388007" y="57422"/>
                    <a:pt x="387740" y="51802"/>
                    <a:pt x="390525" y="47625"/>
                  </a:cubicBezTo>
                  <a:cubicBezTo>
                    <a:pt x="401537" y="31107"/>
                    <a:pt x="405431" y="35528"/>
                    <a:pt x="419100" y="23812"/>
                  </a:cubicBezTo>
                  <a:cubicBezTo>
                    <a:pt x="425918" y="17968"/>
                    <a:pt x="430118" y="8778"/>
                    <a:pt x="438150" y="4762"/>
                  </a:cubicBezTo>
                  <a:cubicBezTo>
                    <a:pt x="446787" y="444"/>
                    <a:pt x="457200" y="1587"/>
                    <a:pt x="466725" y="0"/>
                  </a:cubicBezTo>
                  <a:cubicBezTo>
                    <a:pt x="512082" y="4123"/>
                    <a:pt x="512228" y="104"/>
                    <a:pt x="547687" y="14287"/>
                  </a:cubicBezTo>
                  <a:cubicBezTo>
                    <a:pt x="609017" y="38819"/>
                    <a:pt x="527321" y="7412"/>
                    <a:pt x="581025" y="38100"/>
                  </a:cubicBezTo>
                  <a:cubicBezTo>
                    <a:pt x="584643" y="40167"/>
                    <a:pt x="622453" y="47338"/>
                    <a:pt x="623887" y="47625"/>
                  </a:cubicBezTo>
                  <a:cubicBezTo>
                    <a:pt x="633412" y="52387"/>
                    <a:pt x="643153" y="56740"/>
                    <a:pt x="652462" y="61912"/>
                  </a:cubicBezTo>
                  <a:cubicBezTo>
                    <a:pt x="657466" y="64692"/>
                    <a:pt x="661630" y="68877"/>
                    <a:pt x="666750" y="71437"/>
                  </a:cubicBezTo>
                  <a:cubicBezTo>
                    <a:pt x="671240" y="73682"/>
                    <a:pt x="676547" y="73955"/>
                    <a:pt x="681037" y="76200"/>
                  </a:cubicBezTo>
                  <a:cubicBezTo>
                    <a:pt x="714363" y="92863"/>
                    <a:pt x="671272" y="80874"/>
                    <a:pt x="723900" y="100012"/>
                  </a:cubicBezTo>
                  <a:cubicBezTo>
                    <a:pt x="741617" y="106455"/>
                    <a:pt x="798306" y="108991"/>
                    <a:pt x="804862" y="109537"/>
                  </a:cubicBezTo>
                  <a:cubicBezTo>
                    <a:pt x="811212" y="114300"/>
                    <a:pt x="816280" y="121644"/>
                    <a:pt x="823912" y="123825"/>
                  </a:cubicBezTo>
                  <a:cubicBezTo>
                    <a:pt x="839252" y="128208"/>
                    <a:pt x="855723" y="126478"/>
                    <a:pt x="871537" y="128587"/>
                  </a:cubicBezTo>
                  <a:cubicBezTo>
                    <a:pt x="879561" y="129657"/>
                    <a:pt x="887412" y="131762"/>
                    <a:pt x="895350" y="133350"/>
                  </a:cubicBezTo>
                  <a:cubicBezTo>
                    <a:pt x="914400" y="131762"/>
                    <a:pt x="933644" y="131730"/>
                    <a:pt x="952500" y="128587"/>
                  </a:cubicBezTo>
                  <a:cubicBezTo>
                    <a:pt x="962404" y="126936"/>
                    <a:pt x="971334" y="121497"/>
                    <a:pt x="981075" y="119062"/>
                  </a:cubicBezTo>
                  <a:cubicBezTo>
                    <a:pt x="987425" y="117475"/>
                    <a:pt x="993831" y="116098"/>
                    <a:pt x="1000125" y="114300"/>
                  </a:cubicBezTo>
                  <a:cubicBezTo>
                    <a:pt x="1004952" y="112921"/>
                    <a:pt x="1009604" y="110980"/>
                    <a:pt x="1014412" y="109537"/>
                  </a:cubicBezTo>
                  <a:cubicBezTo>
                    <a:pt x="1025482" y="106216"/>
                    <a:pt x="1036600" y="103053"/>
                    <a:pt x="1047750" y="100012"/>
                  </a:cubicBezTo>
                  <a:cubicBezTo>
                    <a:pt x="1087333" y="89217"/>
                    <a:pt x="1044036" y="102839"/>
                    <a:pt x="1095375" y="85725"/>
                  </a:cubicBezTo>
                  <a:cubicBezTo>
                    <a:pt x="1100137" y="84137"/>
                    <a:pt x="1105485" y="83747"/>
                    <a:pt x="1109662" y="80962"/>
                  </a:cubicBezTo>
                  <a:cubicBezTo>
                    <a:pt x="1124010" y="71397"/>
                    <a:pt x="1126083" y="69162"/>
                    <a:pt x="1143000" y="61912"/>
                  </a:cubicBezTo>
                  <a:cubicBezTo>
                    <a:pt x="1147614" y="59935"/>
                    <a:pt x="1152525" y="58737"/>
                    <a:pt x="1157287" y="57150"/>
                  </a:cubicBezTo>
                  <a:lnTo>
                    <a:pt x="1171575" y="47625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F7C4E643-C84E-EAA6-1985-0A3B00A434C0}"/>
                </a:ext>
              </a:extLst>
            </p:cNvPr>
            <p:cNvSpPr/>
            <p:nvPr/>
          </p:nvSpPr>
          <p:spPr bwMode="gray">
            <a:xfrm>
              <a:off x="8324702" y="4198714"/>
              <a:ext cx="583397" cy="76259"/>
            </a:xfrm>
            <a:custGeom>
              <a:avLst/>
              <a:gdLst>
                <a:gd name="connsiteX0" fmla="*/ 0 w 771525"/>
                <a:gd name="connsiteY0" fmla="*/ 100851 h 100851"/>
                <a:gd name="connsiteX1" fmla="*/ 4762 w 771525"/>
                <a:gd name="connsiteY1" fmla="*/ 77039 h 100851"/>
                <a:gd name="connsiteX2" fmla="*/ 38100 w 771525"/>
                <a:gd name="connsiteY2" fmla="*/ 48464 h 100851"/>
                <a:gd name="connsiteX3" fmla="*/ 104775 w 771525"/>
                <a:gd name="connsiteY3" fmla="*/ 19889 h 100851"/>
                <a:gd name="connsiteX4" fmla="*/ 309562 w 771525"/>
                <a:gd name="connsiteY4" fmla="*/ 38939 h 100851"/>
                <a:gd name="connsiteX5" fmla="*/ 347662 w 771525"/>
                <a:gd name="connsiteY5" fmla="*/ 43701 h 100851"/>
                <a:gd name="connsiteX6" fmla="*/ 361950 w 771525"/>
                <a:gd name="connsiteY6" fmla="*/ 53226 h 100851"/>
                <a:gd name="connsiteX7" fmla="*/ 385762 w 771525"/>
                <a:gd name="connsiteY7" fmla="*/ 62751 h 100851"/>
                <a:gd name="connsiteX8" fmla="*/ 438150 w 771525"/>
                <a:gd name="connsiteY8" fmla="*/ 72276 h 100851"/>
                <a:gd name="connsiteX9" fmla="*/ 552450 w 771525"/>
                <a:gd name="connsiteY9" fmla="*/ 62751 h 100851"/>
                <a:gd name="connsiteX10" fmla="*/ 571500 w 771525"/>
                <a:gd name="connsiteY10" fmla="*/ 57989 h 100851"/>
                <a:gd name="connsiteX11" fmla="*/ 642937 w 771525"/>
                <a:gd name="connsiteY11" fmla="*/ 43701 h 100851"/>
                <a:gd name="connsiteX12" fmla="*/ 657225 w 771525"/>
                <a:gd name="connsiteY12" fmla="*/ 29414 h 100851"/>
                <a:gd name="connsiteX13" fmla="*/ 700087 w 771525"/>
                <a:gd name="connsiteY13" fmla="*/ 10364 h 100851"/>
                <a:gd name="connsiteX14" fmla="*/ 728662 w 771525"/>
                <a:gd name="connsiteY14" fmla="*/ 839 h 100851"/>
                <a:gd name="connsiteX15" fmla="*/ 771525 w 771525"/>
                <a:gd name="connsiteY15" fmla="*/ 839 h 10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1525" h="100851">
                  <a:moveTo>
                    <a:pt x="0" y="100851"/>
                  </a:moveTo>
                  <a:cubicBezTo>
                    <a:pt x="1587" y="92914"/>
                    <a:pt x="1142" y="84279"/>
                    <a:pt x="4762" y="77039"/>
                  </a:cubicBezTo>
                  <a:cubicBezTo>
                    <a:pt x="8140" y="70282"/>
                    <a:pt x="33132" y="51303"/>
                    <a:pt x="38100" y="48464"/>
                  </a:cubicBezTo>
                  <a:cubicBezTo>
                    <a:pt x="79698" y="24694"/>
                    <a:pt x="72888" y="27860"/>
                    <a:pt x="104775" y="19889"/>
                  </a:cubicBezTo>
                  <a:lnTo>
                    <a:pt x="309562" y="38939"/>
                  </a:lnTo>
                  <a:cubicBezTo>
                    <a:pt x="322300" y="40188"/>
                    <a:pt x="335314" y="40334"/>
                    <a:pt x="347662" y="43701"/>
                  </a:cubicBezTo>
                  <a:cubicBezTo>
                    <a:pt x="353184" y="45207"/>
                    <a:pt x="356830" y="50666"/>
                    <a:pt x="361950" y="53226"/>
                  </a:cubicBezTo>
                  <a:cubicBezTo>
                    <a:pt x="369596" y="57049"/>
                    <a:pt x="377574" y="60294"/>
                    <a:pt x="385762" y="62751"/>
                  </a:cubicBezTo>
                  <a:cubicBezTo>
                    <a:pt x="394089" y="65249"/>
                    <a:pt x="431358" y="71144"/>
                    <a:pt x="438150" y="72276"/>
                  </a:cubicBezTo>
                  <a:cubicBezTo>
                    <a:pt x="476250" y="69101"/>
                    <a:pt x="514435" y="66824"/>
                    <a:pt x="552450" y="62751"/>
                  </a:cubicBezTo>
                  <a:cubicBezTo>
                    <a:pt x="558958" y="62054"/>
                    <a:pt x="565095" y="59337"/>
                    <a:pt x="571500" y="57989"/>
                  </a:cubicBezTo>
                  <a:cubicBezTo>
                    <a:pt x="595263" y="52986"/>
                    <a:pt x="642937" y="43701"/>
                    <a:pt x="642937" y="43701"/>
                  </a:cubicBezTo>
                  <a:cubicBezTo>
                    <a:pt x="647700" y="38939"/>
                    <a:pt x="651744" y="33329"/>
                    <a:pt x="657225" y="29414"/>
                  </a:cubicBezTo>
                  <a:cubicBezTo>
                    <a:pt x="664988" y="23869"/>
                    <a:pt x="692481" y="13130"/>
                    <a:pt x="700087" y="10364"/>
                  </a:cubicBezTo>
                  <a:cubicBezTo>
                    <a:pt x="709523" y="6933"/>
                    <a:pt x="718710" y="2166"/>
                    <a:pt x="728662" y="839"/>
                  </a:cubicBezTo>
                  <a:cubicBezTo>
                    <a:pt x="742824" y="-1049"/>
                    <a:pt x="757237" y="839"/>
                    <a:pt x="771525" y="839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76BDDFA9-F24A-C3AB-E7F0-469A6D1634B4}"/>
                </a:ext>
              </a:extLst>
            </p:cNvPr>
            <p:cNvSpPr/>
            <p:nvPr/>
          </p:nvSpPr>
          <p:spPr bwMode="gray">
            <a:xfrm>
              <a:off x="8965718" y="4141729"/>
              <a:ext cx="349317" cy="151278"/>
            </a:xfrm>
            <a:custGeom>
              <a:avLst/>
              <a:gdLst>
                <a:gd name="connsiteX0" fmla="*/ 0 w 461962"/>
                <a:gd name="connsiteY0" fmla="*/ 171450 h 200061"/>
                <a:gd name="connsiteX1" fmla="*/ 9525 w 461962"/>
                <a:gd name="connsiteY1" fmla="*/ 147637 h 200061"/>
                <a:gd name="connsiteX2" fmla="*/ 19050 w 461962"/>
                <a:gd name="connsiteY2" fmla="*/ 104775 h 200061"/>
                <a:gd name="connsiteX3" fmla="*/ 23812 w 461962"/>
                <a:gd name="connsiteY3" fmla="*/ 90487 h 200061"/>
                <a:gd name="connsiteX4" fmla="*/ 28575 w 461962"/>
                <a:gd name="connsiteY4" fmla="*/ 28575 h 200061"/>
                <a:gd name="connsiteX5" fmla="*/ 38100 w 461962"/>
                <a:gd name="connsiteY5" fmla="*/ 9525 h 200061"/>
                <a:gd name="connsiteX6" fmla="*/ 76200 w 461962"/>
                <a:gd name="connsiteY6" fmla="*/ 4762 h 200061"/>
                <a:gd name="connsiteX7" fmla="*/ 119062 w 461962"/>
                <a:gd name="connsiteY7" fmla="*/ 0 h 200061"/>
                <a:gd name="connsiteX8" fmla="*/ 200025 w 461962"/>
                <a:gd name="connsiteY8" fmla="*/ 19050 h 200061"/>
                <a:gd name="connsiteX9" fmla="*/ 228600 w 461962"/>
                <a:gd name="connsiteY9" fmla="*/ 47625 h 200061"/>
                <a:gd name="connsiteX10" fmla="*/ 242887 w 461962"/>
                <a:gd name="connsiteY10" fmla="*/ 52387 h 200061"/>
                <a:gd name="connsiteX11" fmla="*/ 271462 w 461962"/>
                <a:gd name="connsiteY11" fmla="*/ 71437 h 200061"/>
                <a:gd name="connsiteX12" fmla="*/ 309562 w 461962"/>
                <a:gd name="connsiteY12" fmla="*/ 95250 h 200061"/>
                <a:gd name="connsiteX13" fmla="*/ 328612 w 461962"/>
                <a:gd name="connsiteY13" fmla="*/ 114300 h 200061"/>
                <a:gd name="connsiteX14" fmla="*/ 342900 w 461962"/>
                <a:gd name="connsiteY14" fmla="*/ 119062 h 200061"/>
                <a:gd name="connsiteX15" fmla="*/ 357187 w 461962"/>
                <a:gd name="connsiteY15" fmla="*/ 128587 h 200061"/>
                <a:gd name="connsiteX16" fmla="*/ 390525 w 461962"/>
                <a:gd name="connsiteY16" fmla="*/ 161925 h 200061"/>
                <a:gd name="connsiteX17" fmla="*/ 404812 w 461962"/>
                <a:gd name="connsiteY17" fmla="*/ 180975 h 200061"/>
                <a:gd name="connsiteX18" fmla="*/ 433387 w 461962"/>
                <a:gd name="connsiteY18" fmla="*/ 195262 h 200061"/>
                <a:gd name="connsiteX19" fmla="*/ 461962 w 461962"/>
                <a:gd name="connsiteY19" fmla="*/ 200025 h 20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1962" h="200061">
                  <a:moveTo>
                    <a:pt x="0" y="171450"/>
                  </a:moveTo>
                  <a:cubicBezTo>
                    <a:pt x="3175" y="163512"/>
                    <a:pt x="6822" y="155747"/>
                    <a:pt x="9525" y="147637"/>
                  </a:cubicBezTo>
                  <a:cubicBezTo>
                    <a:pt x="14409" y="132983"/>
                    <a:pt x="15280" y="119857"/>
                    <a:pt x="19050" y="104775"/>
                  </a:cubicBezTo>
                  <a:cubicBezTo>
                    <a:pt x="20268" y="99905"/>
                    <a:pt x="22225" y="95250"/>
                    <a:pt x="23812" y="90487"/>
                  </a:cubicBezTo>
                  <a:cubicBezTo>
                    <a:pt x="25400" y="69850"/>
                    <a:pt x="24978" y="48958"/>
                    <a:pt x="28575" y="28575"/>
                  </a:cubicBezTo>
                  <a:cubicBezTo>
                    <a:pt x="29809" y="21584"/>
                    <a:pt x="31750" y="12700"/>
                    <a:pt x="38100" y="9525"/>
                  </a:cubicBezTo>
                  <a:cubicBezTo>
                    <a:pt x="49548" y="3801"/>
                    <a:pt x="63489" y="6257"/>
                    <a:pt x="76200" y="4762"/>
                  </a:cubicBezTo>
                  <a:lnTo>
                    <a:pt x="119062" y="0"/>
                  </a:lnTo>
                  <a:cubicBezTo>
                    <a:pt x="146050" y="6350"/>
                    <a:pt x="173723" y="10283"/>
                    <a:pt x="200025" y="19050"/>
                  </a:cubicBezTo>
                  <a:cubicBezTo>
                    <a:pt x="231529" y="29551"/>
                    <a:pt x="208993" y="31939"/>
                    <a:pt x="228600" y="47625"/>
                  </a:cubicBezTo>
                  <a:cubicBezTo>
                    <a:pt x="232520" y="50761"/>
                    <a:pt x="238125" y="50800"/>
                    <a:pt x="242887" y="52387"/>
                  </a:cubicBezTo>
                  <a:cubicBezTo>
                    <a:pt x="252412" y="58737"/>
                    <a:pt x="262204" y="64704"/>
                    <a:pt x="271462" y="71437"/>
                  </a:cubicBezTo>
                  <a:cubicBezTo>
                    <a:pt x="304315" y="95330"/>
                    <a:pt x="283103" y="86429"/>
                    <a:pt x="309562" y="95250"/>
                  </a:cubicBezTo>
                  <a:cubicBezTo>
                    <a:pt x="315912" y="101600"/>
                    <a:pt x="321304" y="109080"/>
                    <a:pt x="328612" y="114300"/>
                  </a:cubicBezTo>
                  <a:cubicBezTo>
                    <a:pt x="332697" y="117218"/>
                    <a:pt x="338410" y="116817"/>
                    <a:pt x="342900" y="119062"/>
                  </a:cubicBezTo>
                  <a:cubicBezTo>
                    <a:pt x="348019" y="121622"/>
                    <a:pt x="352425" y="125412"/>
                    <a:pt x="357187" y="128587"/>
                  </a:cubicBezTo>
                  <a:cubicBezTo>
                    <a:pt x="367082" y="158271"/>
                    <a:pt x="354325" y="129747"/>
                    <a:pt x="390525" y="161925"/>
                  </a:cubicBezTo>
                  <a:cubicBezTo>
                    <a:pt x="396457" y="167198"/>
                    <a:pt x="399199" y="175362"/>
                    <a:pt x="404812" y="180975"/>
                  </a:cubicBezTo>
                  <a:cubicBezTo>
                    <a:pt x="413161" y="189324"/>
                    <a:pt x="422541" y="192163"/>
                    <a:pt x="433387" y="195262"/>
                  </a:cubicBezTo>
                  <a:cubicBezTo>
                    <a:pt x="452753" y="200795"/>
                    <a:pt x="447233" y="200025"/>
                    <a:pt x="461962" y="20002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538E0127-DA93-B81D-84EB-93FE5DD1A736}"/>
                </a:ext>
              </a:extLst>
            </p:cNvPr>
            <p:cNvSpPr/>
            <p:nvPr/>
          </p:nvSpPr>
          <p:spPr bwMode="gray">
            <a:xfrm>
              <a:off x="9008933" y="4156134"/>
              <a:ext cx="136846" cy="216073"/>
            </a:xfrm>
            <a:custGeom>
              <a:avLst/>
              <a:gdLst>
                <a:gd name="connsiteX0" fmla="*/ 180975 w 180975"/>
                <a:gd name="connsiteY0" fmla="*/ 285750 h 285750"/>
                <a:gd name="connsiteX1" fmla="*/ 171450 w 180975"/>
                <a:gd name="connsiteY1" fmla="*/ 223837 h 285750"/>
                <a:gd name="connsiteX2" fmla="*/ 157162 w 180975"/>
                <a:gd name="connsiteY2" fmla="*/ 200025 h 285750"/>
                <a:gd name="connsiteX3" fmla="*/ 128587 w 180975"/>
                <a:gd name="connsiteY3" fmla="*/ 161925 h 285750"/>
                <a:gd name="connsiteX4" fmla="*/ 95250 w 180975"/>
                <a:gd name="connsiteY4" fmla="*/ 138112 h 285750"/>
                <a:gd name="connsiteX5" fmla="*/ 47625 w 180975"/>
                <a:gd name="connsiteY5" fmla="*/ 95250 h 285750"/>
                <a:gd name="connsiteX6" fmla="*/ 14287 w 180975"/>
                <a:gd name="connsiteY6" fmla="*/ 42862 h 285750"/>
                <a:gd name="connsiteX7" fmla="*/ 0 w 180975"/>
                <a:gd name="connsiteY7" fmla="*/ 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975" h="285750">
                  <a:moveTo>
                    <a:pt x="180975" y="285750"/>
                  </a:moveTo>
                  <a:cubicBezTo>
                    <a:pt x="177800" y="265112"/>
                    <a:pt x="177039" y="243956"/>
                    <a:pt x="171450" y="223837"/>
                  </a:cubicBezTo>
                  <a:cubicBezTo>
                    <a:pt x="168972" y="214918"/>
                    <a:pt x="162431" y="207636"/>
                    <a:pt x="157162" y="200025"/>
                  </a:cubicBezTo>
                  <a:cubicBezTo>
                    <a:pt x="148126" y="186973"/>
                    <a:pt x="141796" y="170731"/>
                    <a:pt x="128587" y="161925"/>
                  </a:cubicBezTo>
                  <a:cubicBezTo>
                    <a:pt x="118876" y="155451"/>
                    <a:pt x="103374" y="145497"/>
                    <a:pt x="95250" y="138112"/>
                  </a:cubicBezTo>
                  <a:cubicBezTo>
                    <a:pt x="43847" y="91382"/>
                    <a:pt x="80093" y="116896"/>
                    <a:pt x="47625" y="95250"/>
                  </a:cubicBezTo>
                  <a:cubicBezTo>
                    <a:pt x="39370" y="82867"/>
                    <a:pt x="16075" y="48227"/>
                    <a:pt x="14287" y="42862"/>
                  </a:cubicBez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F1110932-9741-BD5D-ADAD-6DA1BCFF8060}"/>
                </a:ext>
              </a:extLst>
            </p:cNvPr>
            <p:cNvSpPr/>
            <p:nvPr/>
          </p:nvSpPr>
          <p:spPr bwMode="gray">
            <a:xfrm>
              <a:off x="7903358" y="5780281"/>
              <a:ext cx="281364" cy="252085"/>
            </a:xfrm>
            <a:custGeom>
              <a:avLst/>
              <a:gdLst>
                <a:gd name="connsiteX0" fmla="*/ 0 w 372096"/>
                <a:gd name="connsiteY0" fmla="*/ 333375 h 333375"/>
                <a:gd name="connsiteX1" fmla="*/ 28575 w 372096"/>
                <a:gd name="connsiteY1" fmla="*/ 285750 h 333375"/>
                <a:gd name="connsiteX2" fmla="*/ 38100 w 372096"/>
                <a:gd name="connsiteY2" fmla="*/ 261938 h 333375"/>
                <a:gd name="connsiteX3" fmla="*/ 90488 w 372096"/>
                <a:gd name="connsiteY3" fmla="*/ 247650 h 333375"/>
                <a:gd name="connsiteX4" fmla="*/ 200025 w 372096"/>
                <a:gd name="connsiteY4" fmla="*/ 252413 h 333375"/>
                <a:gd name="connsiteX5" fmla="*/ 238125 w 372096"/>
                <a:gd name="connsiteY5" fmla="*/ 252413 h 333375"/>
                <a:gd name="connsiteX6" fmla="*/ 252413 w 372096"/>
                <a:gd name="connsiteY6" fmla="*/ 223838 h 333375"/>
                <a:gd name="connsiteX7" fmla="*/ 257175 w 372096"/>
                <a:gd name="connsiteY7" fmla="*/ 195263 h 333375"/>
                <a:gd name="connsiteX8" fmla="*/ 276225 w 372096"/>
                <a:gd name="connsiteY8" fmla="*/ 142875 h 333375"/>
                <a:gd name="connsiteX9" fmla="*/ 280988 w 372096"/>
                <a:gd name="connsiteY9" fmla="*/ 128588 h 333375"/>
                <a:gd name="connsiteX10" fmla="*/ 290513 w 372096"/>
                <a:gd name="connsiteY10" fmla="*/ 114300 h 333375"/>
                <a:gd name="connsiteX11" fmla="*/ 361950 w 372096"/>
                <a:gd name="connsiteY11" fmla="*/ 47625 h 333375"/>
                <a:gd name="connsiteX12" fmla="*/ 371475 w 372096"/>
                <a:gd name="connsiteY12" fmla="*/ 0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2096" h="333375">
                  <a:moveTo>
                    <a:pt x="0" y="333375"/>
                  </a:moveTo>
                  <a:cubicBezTo>
                    <a:pt x="23556" y="274485"/>
                    <a:pt x="-8010" y="346726"/>
                    <a:pt x="28575" y="285750"/>
                  </a:cubicBezTo>
                  <a:cubicBezTo>
                    <a:pt x="32973" y="278419"/>
                    <a:pt x="31352" y="267186"/>
                    <a:pt x="38100" y="261938"/>
                  </a:cubicBezTo>
                  <a:cubicBezTo>
                    <a:pt x="40780" y="259854"/>
                    <a:pt x="81153" y="249984"/>
                    <a:pt x="90488" y="247650"/>
                  </a:cubicBezTo>
                  <a:cubicBezTo>
                    <a:pt x="127000" y="249238"/>
                    <a:pt x="163578" y="249713"/>
                    <a:pt x="200025" y="252413"/>
                  </a:cubicBezTo>
                  <a:cubicBezTo>
                    <a:pt x="239213" y="255316"/>
                    <a:pt x="198937" y="262209"/>
                    <a:pt x="238125" y="252413"/>
                  </a:cubicBezTo>
                  <a:cubicBezTo>
                    <a:pt x="242888" y="242888"/>
                    <a:pt x="249045" y="233941"/>
                    <a:pt x="252413" y="223838"/>
                  </a:cubicBezTo>
                  <a:cubicBezTo>
                    <a:pt x="255467" y="214677"/>
                    <a:pt x="255004" y="204672"/>
                    <a:pt x="257175" y="195263"/>
                  </a:cubicBezTo>
                  <a:cubicBezTo>
                    <a:pt x="267854" y="148987"/>
                    <a:pt x="262021" y="176016"/>
                    <a:pt x="276225" y="142875"/>
                  </a:cubicBezTo>
                  <a:cubicBezTo>
                    <a:pt x="278203" y="138261"/>
                    <a:pt x="278743" y="133078"/>
                    <a:pt x="280988" y="128588"/>
                  </a:cubicBezTo>
                  <a:cubicBezTo>
                    <a:pt x="283548" y="123468"/>
                    <a:pt x="286618" y="118494"/>
                    <a:pt x="290513" y="114300"/>
                  </a:cubicBezTo>
                  <a:cubicBezTo>
                    <a:pt x="334863" y="66538"/>
                    <a:pt x="327531" y="73440"/>
                    <a:pt x="361950" y="47625"/>
                  </a:cubicBezTo>
                  <a:cubicBezTo>
                    <a:pt x="375735" y="20056"/>
                    <a:pt x="371475" y="35675"/>
                    <a:pt x="371475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C4F6286-FB16-AF72-8B3B-9C4068444D83}"/>
                </a:ext>
              </a:extLst>
            </p:cNvPr>
            <p:cNvSpPr/>
            <p:nvPr/>
          </p:nvSpPr>
          <p:spPr bwMode="gray">
            <a:xfrm>
              <a:off x="8180652" y="5247301"/>
              <a:ext cx="316907" cy="547384"/>
            </a:xfrm>
            <a:custGeom>
              <a:avLst/>
              <a:gdLst>
                <a:gd name="connsiteX0" fmla="*/ 419100 w 419100"/>
                <a:gd name="connsiteY0" fmla="*/ 0 h 723900"/>
                <a:gd name="connsiteX1" fmla="*/ 395287 w 419100"/>
                <a:gd name="connsiteY1" fmla="*/ 9525 h 723900"/>
                <a:gd name="connsiteX2" fmla="*/ 376237 w 419100"/>
                <a:gd name="connsiteY2" fmla="*/ 38100 h 723900"/>
                <a:gd name="connsiteX3" fmla="*/ 366712 w 419100"/>
                <a:gd name="connsiteY3" fmla="*/ 52388 h 723900"/>
                <a:gd name="connsiteX4" fmla="*/ 314325 w 419100"/>
                <a:gd name="connsiteY4" fmla="*/ 80963 h 723900"/>
                <a:gd name="connsiteX5" fmla="*/ 285750 w 419100"/>
                <a:gd name="connsiteY5" fmla="*/ 104775 h 723900"/>
                <a:gd name="connsiteX6" fmla="*/ 276225 w 419100"/>
                <a:gd name="connsiteY6" fmla="*/ 123825 h 723900"/>
                <a:gd name="connsiteX7" fmla="*/ 266700 w 419100"/>
                <a:gd name="connsiteY7" fmla="*/ 138113 h 723900"/>
                <a:gd name="connsiteX8" fmla="*/ 261937 w 419100"/>
                <a:gd name="connsiteY8" fmla="*/ 157163 h 723900"/>
                <a:gd name="connsiteX9" fmla="*/ 238125 w 419100"/>
                <a:gd name="connsiteY9" fmla="*/ 195263 h 723900"/>
                <a:gd name="connsiteX10" fmla="*/ 214312 w 419100"/>
                <a:gd name="connsiteY10" fmla="*/ 242888 h 723900"/>
                <a:gd name="connsiteX11" fmla="*/ 204787 w 419100"/>
                <a:gd name="connsiteY11" fmla="*/ 261938 h 723900"/>
                <a:gd name="connsiteX12" fmla="*/ 200025 w 419100"/>
                <a:gd name="connsiteY12" fmla="*/ 276225 h 723900"/>
                <a:gd name="connsiteX13" fmla="*/ 157162 w 419100"/>
                <a:gd name="connsiteY13" fmla="*/ 309563 h 723900"/>
                <a:gd name="connsiteX14" fmla="*/ 119062 w 419100"/>
                <a:gd name="connsiteY14" fmla="*/ 338138 h 723900"/>
                <a:gd name="connsiteX15" fmla="*/ 76200 w 419100"/>
                <a:gd name="connsiteY15" fmla="*/ 390525 h 723900"/>
                <a:gd name="connsiteX16" fmla="*/ 61912 w 419100"/>
                <a:gd name="connsiteY16" fmla="*/ 395288 h 723900"/>
                <a:gd name="connsiteX17" fmla="*/ 47625 w 419100"/>
                <a:gd name="connsiteY17" fmla="*/ 423863 h 723900"/>
                <a:gd name="connsiteX18" fmla="*/ 42862 w 419100"/>
                <a:gd name="connsiteY18" fmla="*/ 438150 h 723900"/>
                <a:gd name="connsiteX19" fmla="*/ 33337 w 419100"/>
                <a:gd name="connsiteY19" fmla="*/ 452438 h 723900"/>
                <a:gd name="connsiteX20" fmla="*/ 23812 w 419100"/>
                <a:gd name="connsiteY20" fmla="*/ 476250 h 723900"/>
                <a:gd name="connsiteX21" fmla="*/ 14287 w 419100"/>
                <a:gd name="connsiteY21" fmla="*/ 557213 h 723900"/>
                <a:gd name="connsiteX22" fmla="*/ 9525 w 419100"/>
                <a:gd name="connsiteY22" fmla="*/ 581025 h 723900"/>
                <a:gd name="connsiteX23" fmla="*/ 4762 w 419100"/>
                <a:gd name="connsiteY23" fmla="*/ 614363 h 723900"/>
                <a:gd name="connsiteX24" fmla="*/ 0 w 419100"/>
                <a:gd name="connsiteY24" fmla="*/ 704850 h 723900"/>
                <a:gd name="connsiteX25" fmla="*/ 4762 w 419100"/>
                <a:gd name="connsiteY25" fmla="*/ 72390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723900">
                  <a:moveTo>
                    <a:pt x="419100" y="0"/>
                  </a:moveTo>
                  <a:cubicBezTo>
                    <a:pt x="411162" y="3175"/>
                    <a:pt x="401677" y="3845"/>
                    <a:pt x="395287" y="9525"/>
                  </a:cubicBezTo>
                  <a:cubicBezTo>
                    <a:pt x="386731" y="17130"/>
                    <a:pt x="382587" y="28575"/>
                    <a:pt x="376237" y="38100"/>
                  </a:cubicBezTo>
                  <a:cubicBezTo>
                    <a:pt x="373062" y="42863"/>
                    <a:pt x="371566" y="49354"/>
                    <a:pt x="366712" y="52388"/>
                  </a:cubicBezTo>
                  <a:cubicBezTo>
                    <a:pt x="324355" y="78861"/>
                    <a:pt x="342820" y="71463"/>
                    <a:pt x="314325" y="80963"/>
                  </a:cubicBezTo>
                  <a:cubicBezTo>
                    <a:pt x="304800" y="88900"/>
                    <a:pt x="293987" y="95508"/>
                    <a:pt x="285750" y="104775"/>
                  </a:cubicBezTo>
                  <a:cubicBezTo>
                    <a:pt x="281033" y="110081"/>
                    <a:pt x="279747" y="117661"/>
                    <a:pt x="276225" y="123825"/>
                  </a:cubicBezTo>
                  <a:cubicBezTo>
                    <a:pt x="273385" y="128795"/>
                    <a:pt x="269875" y="133350"/>
                    <a:pt x="266700" y="138113"/>
                  </a:cubicBezTo>
                  <a:cubicBezTo>
                    <a:pt x="265112" y="144463"/>
                    <a:pt x="264864" y="151309"/>
                    <a:pt x="261937" y="157163"/>
                  </a:cubicBezTo>
                  <a:cubicBezTo>
                    <a:pt x="255239" y="170558"/>
                    <a:pt x="242861" y="181055"/>
                    <a:pt x="238125" y="195263"/>
                  </a:cubicBezTo>
                  <a:cubicBezTo>
                    <a:pt x="221196" y="246050"/>
                    <a:pt x="238493" y="204199"/>
                    <a:pt x="214312" y="242888"/>
                  </a:cubicBezTo>
                  <a:cubicBezTo>
                    <a:pt x="210549" y="248908"/>
                    <a:pt x="207584" y="255412"/>
                    <a:pt x="204787" y="261938"/>
                  </a:cubicBezTo>
                  <a:cubicBezTo>
                    <a:pt x="202810" y="266552"/>
                    <a:pt x="203037" y="272209"/>
                    <a:pt x="200025" y="276225"/>
                  </a:cubicBezTo>
                  <a:cubicBezTo>
                    <a:pt x="167955" y="318985"/>
                    <a:pt x="188300" y="286210"/>
                    <a:pt x="157162" y="309563"/>
                  </a:cubicBezTo>
                  <a:cubicBezTo>
                    <a:pt x="109022" y="345668"/>
                    <a:pt x="165173" y="315082"/>
                    <a:pt x="119062" y="338138"/>
                  </a:cubicBezTo>
                  <a:cubicBezTo>
                    <a:pt x="101207" y="366707"/>
                    <a:pt x="101845" y="375871"/>
                    <a:pt x="76200" y="390525"/>
                  </a:cubicBezTo>
                  <a:cubicBezTo>
                    <a:pt x="71841" y="393016"/>
                    <a:pt x="66675" y="393700"/>
                    <a:pt x="61912" y="395288"/>
                  </a:cubicBezTo>
                  <a:cubicBezTo>
                    <a:pt x="49945" y="431191"/>
                    <a:pt x="66086" y="386942"/>
                    <a:pt x="47625" y="423863"/>
                  </a:cubicBezTo>
                  <a:cubicBezTo>
                    <a:pt x="45380" y="428353"/>
                    <a:pt x="45107" y="433660"/>
                    <a:pt x="42862" y="438150"/>
                  </a:cubicBezTo>
                  <a:cubicBezTo>
                    <a:pt x="40302" y="443270"/>
                    <a:pt x="35897" y="447318"/>
                    <a:pt x="33337" y="452438"/>
                  </a:cubicBezTo>
                  <a:cubicBezTo>
                    <a:pt x="29514" y="460084"/>
                    <a:pt x="26987" y="468313"/>
                    <a:pt x="23812" y="476250"/>
                  </a:cubicBezTo>
                  <a:cubicBezTo>
                    <a:pt x="20637" y="503238"/>
                    <a:pt x="17958" y="530288"/>
                    <a:pt x="14287" y="557213"/>
                  </a:cubicBezTo>
                  <a:cubicBezTo>
                    <a:pt x="13193" y="565233"/>
                    <a:pt x="10856" y="573041"/>
                    <a:pt x="9525" y="581025"/>
                  </a:cubicBezTo>
                  <a:cubicBezTo>
                    <a:pt x="7680" y="592098"/>
                    <a:pt x="6350" y="603250"/>
                    <a:pt x="4762" y="614363"/>
                  </a:cubicBezTo>
                  <a:cubicBezTo>
                    <a:pt x="3175" y="644525"/>
                    <a:pt x="0" y="674646"/>
                    <a:pt x="0" y="704850"/>
                  </a:cubicBezTo>
                  <a:cubicBezTo>
                    <a:pt x="0" y="711395"/>
                    <a:pt x="4762" y="723900"/>
                    <a:pt x="4762" y="72390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3E7C9D27-0101-284B-4D5E-9B7630A82E7D}"/>
                </a:ext>
              </a:extLst>
            </p:cNvPr>
            <p:cNvSpPr/>
            <p:nvPr/>
          </p:nvSpPr>
          <p:spPr bwMode="gray">
            <a:xfrm>
              <a:off x="9037742" y="3803215"/>
              <a:ext cx="352919" cy="108037"/>
            </a:xfrm>
            <a:custGeom>
              <a:avLst/>
              <a:gdLst>
                <a:gd name="connsiteX0" fmla="*/ 466725 w 466725"/>
                <a:gd name="connsiteY0" fmla="*/ 0 h 142875"/>
                <a:gd name="connsiteX1" fmla="*/ 438150 w 466725"/>
                <a:gd name="connsiteY1" fmla="*/ 9525 h 142875"/>
                <a:gd name="connsiteX2" fmla="*/ 400050 w 466725"/>
                <a:gd name="connsiteY2" fmla="*/ 23812 h 142875"/>
                <a:gd name="connsiteX3" fmla="*/ 381000 w 466725"/>
                <a:gd name="connsiteY3" fmla="*/ 52387 h 142875"/>
                <a:gd name="connsiteX4" fmla="*/ 366712 w 466725"/>
                <a:gd name="connsiteY4" fmla="*/ 57150 h 142875"/>
                <a:gd name="connsiteX5" fmla="*/ 323850 w 466725"/>
                <a:gd name="connsiteY5" fmla="*/ 71437 h 142875"/>
                <a:gd name="connsiteX6" fmla="*/ 266700 w 466725"/>
                <a:gd name="connsiteY6" fmla="*/ 76200 h 142875"/>
                <a:gd name="connsiteX7" fmla="*/ 247650 w 466725"/>
                <a:gd name="connsiteY7" fmla="*/ 104775 h 142875"/>
                <a:gd name="connsiteX8" fmla="*/ 233362 w 466725"/>
                <a:gd name="connsiteY8" fmla="*/ 114300 h 142875"/>
                <a:gd name="connsiteX9" fmla="*/ 123825 w 466725"/>
                <a:gd name="connsiteY9" fmla="*/ 104775 h 142875"/>
                <a:gd name="connsiteX10" fmla="*/ 61912 w 466725"/>
                <a:gd name="connsiteY10" fmla="*/ 114300 h 142875"/>
                <a:gd name="connsiteX11" fmla="*/ 42862 w 466725"/>
                <a:gd name="connsiteY11" fmla="*/ 123825 h 142875"/>
                <a:gd name="connsiteX12" fmla="*/ 0 w 466725"/>
                <a:gd name="connsiteY12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142875">
                  <a:moveTo>
                    <a:pt x="466725" y="0"/>
                  </a:moveTo>
                  <a:cubicBezTo>
                    <a:pt x="457200" y="3175"/>
                    <a:pt x="447586" y="6094"/>
                    <a:pt x="438150" y="9525"/>
                  </a:cubicBezTo>
                  <a:cubicBezTo>
                    <a:pt x="375534" y="32294"/>
                    <a:pt x="442495" y="9665"/>
                    <a:pt x="400050" y="23812"/>
                  </a:cubicBezTo>
                  <a:cubicBezTo>
                    <a:pt x="393700" y="33337"/>
                    <a:pt x="391860" y="48767"/>
                    <a:pt x="381000" y="52387"/>
                  </a:cubicBezTo>
                  <a:cubicBezTo>
                    <a:pt x="376237" y="53975"/>
                    <a:pt x="371413" y="55387"/>
                    <a:pt x="366712" y="57150"/>
                  </a:cubicBezTo>
                  <a:cubicBezTo>
                    <a:pt x="351686" y="62785"/>
                    <a:pt x="339813" y="69442"/>
                    <a:pt x="323850" y="71437"/>
                  </a:cubicBezTo>
                  <a:cubicBezTo>
                    <a:pt x="304882" y="73808"/>
                    <a:pt x="285750" y="74612"/>
                    <a:pt x="266700" y="76200"/>
                  </a:cubicBezTo>
                  <a:cubicBezTo>
                    <a:pt x="236556" y="86247"/>
                    <a:pt x="266581" y="71645"/>
                    <a:pt x="247650" y="104775"/>
                  </a:cubicBezTo>
                  <a:cubicBezTo>
                    <a:pt x="244810" y="109745"/>
                    <a:pt x="238125" y="111125"/>
                    <a:pt x="233362" y="114300"/>
                  </a:cubicBezTo>
                  <a:cubicBezTo>
                    <a:pt x="206616" y="111328"/>
                    <a:pt x="145534" y="103971"/>
                    <a:pt x="123825" y="104775"/>
                  </a:cubicBezTo>
                  <a:cubicBezTo>
                    <a:pt x="102959" y="105548"/>
                    <a:pt x="82550" y="111125"/>
                    <a:pt x="61912" y="114300"/>
                  </a:cubicBezTo>
                  <a:cubicBezTo>
                    <a:pt x="55562" y="117475"/>
                    <a:pt x="49597" y="121580"/>
                    <a:pt x="42862" y="123825"/>
                  </a:cubicBezTo>
                  <a:cubicBezTo>
                    <a:pt x="-759" y="138365"/>
                    <a:pt x="11179" y="120514"/>
                    <a:pt x="0" y="14287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2945A6E5-3A4D-74FC-5E05-9B063EA9D7CF}"/>
                </a:ext>
              </a:extLst>
            </p:cNvPr>
            <p:cNvSpPr/>
            <p:nvPr/>
          </p:nvSpPr>
          <p:spPr bwMode="gray">
            <a:xfrm>
              <a:off x="9015456" y="3399879"/>
              <a:ext cx="151930" cy="507771"/>
            </a:xfrm>
            <a:custGeom>
              <a:avLst/>
              <a:gdLst>
                <a:gd name="connsiteX0" fmla="*/ 200923 w 200923"/>
                <a:gd name="connsiteY0" fmla="*/ 0 h 671512"/>
                <a:gd name="connsiteX1" fmla="*/ 148535 w 200923"/>
                <a:gd name="connsiteY1" fmla="*/ 42862 h 671512"/>
                <a:gd name="connsiteX2" fmla="*/ 134248 w 200923"/>
                <a:gd name="connsiteY2" fmla="*/ 166687 h 671512"/>
                <a:gd name="connsiteX3" fmla="*/ 105673 w 200923"/>
                <a:gd name="connsiteY3" fmla="*/ 219075 h 671512"/>
                <a:gd name="connsiteX4" fmla="*/ 96148 w 200923"/>
                <a:gd name="connsiteY4" fmla="*/ 247650 h 671512"/>
                <a:gd name="connsiteX5" fmla="*/ 91385 w 200923"/>
                <a:gd name="connsiteY5" fmla="*/ 261937 h 671512"/>
                <a:gd name="connsiteX6" fmla="*/ 86623 w 200923"/>
                <a:gd name="connsiteY6" fmla="*/ 295275 h 671512"/>
                <a:gd name="connsiteX7" fmla="*/ 81860 w 200923"/>
                <a:gd name="connsiteY7" fmla="*/ 309562 h 671512"/>
                <a:gd name="connsiteX8" fmla="*/ 77098 w 200923"/>
                <a:gd name="connsiteY8" fmla="*/ 333375 h 671512"/>
                <a:gd name="connsiteX9" fmla="*/ 67573 w 200923"/>
                <a:gd name="connsiteY9" fmla="*/ 447675 h 671512"/>
                <a:gd name="connsiteX10" fmla="*/ 38998 w 200923"/>
                <a:gd name="connsiteY10" fmla="*/ 476250 h 671512"/>
                <a:gd name="connsiteX11" fmla="*/ 5660 w 200923"/>
                <a:gd name="connsiteY11" fmla="*/ 519112 h 671512"/>
                <a:gd name="connsiteX12" fmla="*/ 898 w 200923"/>
                <a:gd name="connsiteY12" fmla="*/ 561975 h 671512"/>
                <a:gd name="connsiteX13" fmla="*/ 19948 w 200923"/>
                <a:gd name="connsiteY13" fmla="*/ 581025 h 671512"/>
                <a:gd name="connsiteX14" fmla="*/ 29473 w 200923"/>
                <a:gd name="connsiteY14" fmla="*/ 595312 h 671512"/>
                <a:gd name="connsiteX15" fmla="*/ 38998 w 200923"/>
                <a:gd name="connsiteY15" fmla="*/ 619125 h 671512"/>
                <a:gd name="connsiteX16" fmla="*/ 58048 w 200923"/>
                <a:gd name="connsiteY16" fmla="*/ 652462 h 671512"/>
                <a:gd name="connsiteX17" fmla="*/ 67573 w 200923"/>
                <a:gd name="connsiteY17" fmla="*/ 671512 h 67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0923" h="671512">
                  <a:moveTo>
                    <a:pt x="200923" y="0"/>
                  </a:moveTo>
                  <a:cubicBezTo>
                    <a:pt x="186729" y="8516"/>
                    <a:pt x="152848" y="26225"/>
                    <a:pt x="148535" y="42862"/>
                  </a:cubicBezTo>
                  <a:cubicBezTo>
                    <a:pt x="127770" y="122957"/>
                    <a:pt x="160163" y="119176"/>
                    <a:pt x="134248" y="166687"/>
                  </a:cubicBezTo>
                  <a:cubicBezTo>
                    <a:pt x="106835" y="216943"/>
                    <a:pt x="122153" y="173754"/>
                    <a:pt x="105673" y="219075"/>
                  </a:cubicBezTo>
                  <a:cubicBezTo>
                    <a:pt x="102242" y="228511"/>
                    <a:pt x="99323" y="238125"/>
                    <a:pt x="96148" y="247650"/>
                  </a:cubicBezTo>
                  <a:lnTo>
                    <a:pt x="91385" y="261937"/>
                  </a:lnTo>
                  <a:cubicBezTo>
                    <a:pt x="89798" y="273050"/>
                    <a:pt x="88824" y="284268"/>
                    <a:pt x="86623" y="295275"/>
                  </a:cubicBezTo>
                  <a:cubicBezTo>
                    <a:pt x="85638" y="300198"/>
                    <a:pt x="83078" y="304692"/>
                    <a:pt x="81860" y="309562"/>
                  </a:cubicBezTo>
                  <a:cubicBezTo>
                    <a:pt x="79897" y="317415"/>
                    <a:pt x="78685" y="325437"/>
                    <a:pt x="77098" y="333375"/>
                  </a:cubicBezTo>
                  <a:cubicBezTo>
                    <a:pt x="73923" y="371475"/>
                    <a:pt x="77424" y="410734"/>
                    <a:pt x="67573" y="447675"/>
                  </a:cubicBezTo>
                  <a:cubicBezTo>
                    <a:pt x="64102" y="460691"/>
                    <a:pt x="47820" y="466071"/>
                    <a:pt x="38998" y="476250"/>
                  </a:cubicBezTo>
                  <a:cubicBezTo>
                    <a:pt x="27143" y="489928"/>
                    <a:pt x="5660" y="519112"/>
                    <a:pt x="5660" y="519112"/>
                  </a:cubicBezTo>
                  <a:cubicBezTo>
                    <a:pt x="4073" y="533400"/>
                    <a:pt x="-2335" y="547968"/>
                    <a:pt x="898" y="561975"/>
                  </a:cubicBezTo>
                  <a:cubicBezTo>
                    <a:pt x="2917" y="570725"/>
                    <a:pt x="14104" y="574207"/>
                    <a:pt x="19948" y="581025"/>
                  </a:cubicBezTo>
                  <a:cubicBezTo>
                    <a:pt x="23673" y="585371"/>
                    <a:pt x="26913" y="590193"/>
                    <a:pt x="29473" y="595312"/>
                  </a:cubicBezTo>
                  <a:cubicBezTo>
                    <a:pt x="33296" y="602959"/>
                    <a:pt x="35175" y="611478"/>
                    <a:pt x="38998" y="619125"/>
                  </a:cubicBezTo>
                  <a:cubicBezTo>
                    <a:pt x="62908" y="666946"/>
                    <a:pt x="33005" y="594025"/>
                    <a:pt x="58048" y="652462"/>
                  </a:cubicBezTo>
                  <a:cubicBezTo>
                    <a:pt x="66256" y="671616"/>
                    <a:pt x="58036" y="661977"/>
                    <a:pt x="67573" y="671512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02E87B6-719D-86DE-44EC-D86C1CA12257}"/>
                </a:ext>
              </a:extLst>
            </p:cNvPr>
            <p:cNvSpPr/>
            <p:nvPr/>
          </p:nvSpPr>
          <p:spPr bwMode="gray">
            <a:xfrm>
              <a:off x="8918902" y="3896846"/>
              <a:ext cx="154859" cy="327710"/>
            </a:xfrm>
            <a:custGeom>
              <a:avLst/>
              <a:gdLst>
                <a:gd name="connsiteX0" fmla="*/ 0 w 204797"/>
                <a:gd name="connsiteY0" fmla="*/ 433387 h 433387"/>
                <a:gd name="connsiteX1" fmla="*/ 4763 w 204797"/>
                <a:gd name="connsiteY1" fmla="*/ 409575 h 433387"/>
                <a:gd name="connsiteX2" fmla="*/ 14288 w 204797"/>
                <a:gd name="connsiteY2" fmla="*/ 319087 h 433387"/>
                <a:gd name="connsiteX3" fmla="*/ 23813 w 204797"/>
                <a:gd name="connsiteY3" fmla="*/ 300037 h 433387"/>
                <a:gd name="connsiteX4" fmla="*/ 80963 w 204797"/>
                <a:gd name="connsiteY4" fmla="*/ 252412 h 433387"/>
                <a:gd name="connsiteX5" fmla="*/ 109538 w 204797"/>
                <a:gd name="connsiteY5" fmla="*/ 219075 h 433387"/>
                <a:gd name="connsiteX6" fmla="*/ 166688 w 204797"/>
                <a:gd name="connsiteY6" fmla="*/ 142875 h 433387"/>
                <a:gd name="connsiteX7" fmla="*/ 185738 w 204797"/>
                <a:gd name="connsiteY7" fmla="*/ 109537 h 433387"/>
                <a:gd name="connsiteX8" fmla="*/ 190500 w 204797"/>
                <a:gd name="connsiteY8" fmla="*/ 66675 h 433387"/>
                <a:gd name="connsiteX9" fmla="*/ 200025 w 204797"/>
                <a:gd name="connsiteY9" fmla="*/ 42862 h 433387"/>
                <a:gd name="connsiteX10" fmla="*/ 204788 w 204797"/>
                <a:gd name="connsiteY10" fmla="*/ 0 h 43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797" h="433387">
                  <a:moveTo>
                    <a:pt x="0" y="433387"/>
                  </a:moveTo>
                  <a:cubicBezTo>
                    <a:pt x="1588" y="425450"/>
                    <a:pt x="3759" y="417607"/>
                    <a:pt x="4763" y="409575"/>
                  </a:cubicBezTo>
                  <a:cubicBezTo>
                    <a:pt x="8525" y="379480"/>
                    <a:pt x="9091" y="348968"/>
                    <a:pt x="14288" y="319087"/>
                  </a:cubicBezTo>
                  <a:cubicBezTo>
                    <a:pt x="15504" y="312092"/>
                    <a:pt x="19553" y="305717"/>
                    <a:pt x="23813" y="300037"/>
                  </a:cubicBezTo>
                  <a:cubicBezTo>
                    <a:pt x="43025" y="274420"/>
                    <a:pt x="55235" y="278140"/>
                    <a:pt x="80963" y="252412"/>
                  </a:cubicBezTo>
                  <a:cubicBezTo>
                    <a:pt x="116407" y="216968"/>
                    <a:pt x="72889" y="261833"/>
                    <a:pt x="109538" y="219075"/>
                  </a:cubicBezTo>
                  <a:cubicBezTo>
                    <a:pt x="139624" y="183974"/>
                    <a:pt x="127254" y="221743"/>
                    <a:pt x="166688" y="142875"/>
                  </a:cubicBezTo>
                  <a:cubicBezTo>
                    <a:pt x="178773" y="118705"/>
                    <a:pt x="172275" y="129732"/>
                    <a:pt x="185738" y="109537"/>
                  </a:cubicBezTo>
                  <a:cubicBezTo>
                    <a:pt x="187325" y="95250"/>
                    <a:pt x="187488" y="80731"/>
                    <a:pt x="190500" y="66675"/>
                  </a:cubicBezTo>
                  <a:cubicBezTo>
                    <a:pt x="192291" y="58316"/>
                    <a:pt x="197951" y="51156"/>
                    <a:pt x="200025" y="42862"/>
                  </a:cubicBezTo>
                  <a:cubicBezTo>
                    <a:pt x="205237" y="22014"/>
                    <a:pt x="204788" y="16329"/>
                    <a:pt x="204788" y="0"/>
                  </a:cubicBezTo>
                </a:path>
              </a:pathLst>
            </a:cu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11B5C99-F9A8-F1FB-A765-F0DC193F5E83}"/>
                </a:ext>
              </a:extLst>
            </p:cNvPr>
            <p:cNvSpPr/>
            <p:nvPr/>
          </p:nvSpPr>
          <p:spPr bwMode="gray">
            <a:xfrm>
              <a:off x="9113367" y="3522321"/>
              <a:ext cx="237769" cy="298900"/>
            </a:xfrm>
            <a:custGeom>
              <a:avLst/>
              <a:gdLst>
                <a:gd name="connsiteX0" fmla="*/ 0 w 314443"/>
                <a:gd name="connsiteY0" fmla="*/ 0 h 395287"/>
                <a:gd name="connsiteX1" fmla="*/ 14288 w 314443"/>
                <a:gd name="connsiteY1" fmla="*/ 38100 h 395287"/>
                <a:gd name="connsiteX2" fmla="*/ 19050 w 314443"/>
                <a:gd name="connsiteY2" fmla="*/ 57150 h 395287"/>
                <a:gd name="connsiteX3" fmla="*/ 42863 w 314443"/>
                <a:gd name="connsiteY3" fmla="*/ 100012 h 395287"/>
                <a:gd name="connsiteX4" fmla="*/ 57150 w 314443"/>
                <a:gd name="connsiteY4" fmla="*/ 114300 h 395287"/>
                <a:gd name="connsiteX5" fmla="*/ 66675 w 314443"/>
                <a:gd name="connsiteY5" fmla="*/ 138112 h 395287"/>
                <a:gd name="connsiteX6" fmla="*/ 85725 w 314443"/>
                <a:gd name="connsiteY6" fmla="*/ 204787 h 395287"/>
                <a:gd name="connsiteX7" fmla="*/ 104775 w 314443"/>
                <a:gd name="connsiteY7" fmla="*/ 219075 h 395287"/>
                <a:gd name="connsiteX8" fmla="*/ 157163 w 314443"/>
                <a:gd name="connsiteY8" fmla="*/ 219075 h 395287"/>
                <a:gd name="connsiteX9" fmla="*/ 161925 w 314443"/>
                <a:gd name="connsiteY9" fmla="*/ 257175 h 395287"/>
                <a:gd name="connsiteX10" fmla="*/ 190500 w 314443"/>
                <a:gd name="connsiteY10" fmla="*/ 276225 h 395287"/>
                <a:gd name="connsiteX11" fmla="*/ 261938 w 314443"/>
                <a:gd name="connsiteY11" fmla="*/ 295275 h 395287"/>
                <a:gd name="connsiteX12" fmla="*/ 276225 w 314443"/>
                <a:gd name="connsiteY12" fmla="*/ 309562 h 395287"/>
                <a:gd name="connsiteX13" fmla="*/ 300038 w 314443"/>
                <a:gd name="connsiteY13" fmla="*/ 323850 h 395287"/>
                <a:gd name="connsiteX14" fmla="*/ 309563 w 314443"/>
                <a:gd name="connsiteY14" fmla="*/ 342900 h 395287"/>
                <a:gd name="connsiteX15" fmla="*/ 314325 w 314443"/>
                <a:gd name="connsiteY15" fmla="*/ 395287 h 39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4443" h="395287">
                  <a:moveTo>
                    <a:pt x="0" y="0"/>
                  </a:moveTo>
                  <a:cubicBezTo>
                    <a:pt x="5030" y="12574"/>
                    <a:pt x="10556" y="25039"/>
                    <a:pt x="14288" y="38100"/>
                  </a:cubicBezTo>
                  <a:cubicBezTo>
                    <a:pt x="16086" y="44394"/>
                    <a:pt x="16752" y="51021"/>
                    <a:pt x="19050" y="57150"/>
                  </a:cubicBezTo>
                  <a:cubicBezTo>
                    <a:pt x="22443" y="66198"/>
                    <a:pt x="38315" y="93948"/>
                    <a:pt x="42863" y="100012"/>
                  </a:cubicBezTo>
                  <a:cubicBezTo>
                    <a:pt x="46904" y="105400"/>
                    <a:pt x="52388" y="109537"/>
                    <a:pt x="57150" y="114300"/>
                  </a:cubicBezTo>
                  <a:cubicBezTo>
                    <a:pt x="60325" y="122237"/>
                    <a:pt x="64472" y="129852"/>
                    <a:pt x="66675" y="138112"/>
                  </a:cubicBezTo>
                  <a:cubicBezTo>
                    <a:pt x="70543" y="152616"/>
                    <a:pt x="72051" y="188834"/>
                    <a:pt x="85725" y="204787"/>
                  </a:cubicBezTo>
                  <a:cubicBezTo>
                    <a:pt x="90891" y="210814"/>
                    <a:pt x="98425" y="214312"/>
                    <a:pt x="104775" y="219075"/>
                  </a:cubicBezTo>
                  <a:cubicBezTo>
                    <a:pt x="121616" y="206444"/>
                    <a:pt x="134626" y="188087"/>
                    <a:pt x="157163" y="219075"/>
                  </a:cubicBezTo>
                  <a:cubicBezTo>
                    <a:pt x="164691" y="229426"/>
                    <a:pt x="158557" y="244827"/>
                    <a:pt x="161925" y="257175"/>
                  </a:cubicBezTo>
                  <a:cubicBezTo>
                    <a:pt x="167067" y="276029"/>
                    <a:pt x="175062" y="271079"/>
                    <a:pt x="190500" y="276225"/>
                  </a:cubicBezTo>
                  <a:cubicBezTo>
                    <a:pt x="248761" y="295646"/>
                    <a:pt x="169161" y="276720"/>
                    <a:pt x="261938" y="295275"/>
                  </a:cubicBezTo>
                  <a:cubicBezTo>
                    <a:pt x="266700" y="300037"/>
                    <a:pt x="270837" y="305521"/>
                    <a:pt x="276225" y="309562"/>
                  </a:cubicBezTo>
                  <a:cubicBezTo>
                    <a:pt x="283630" y="315116"/>
                    <a:pt x="293492" y="317304"/>
                    <a:pt x="300038" y="323850"/>
                  </a:cubicBezTo>
                  <a:cubicBezTo>
                    <a:pt x="305058" y="328870"/>
                    <a:pt x="306388" y="336550"/>
                    <a:pt x="309563" y="342900"/>
                  </a:cubicBezTo>
                  <a:cubicBezTo>
                    <a:pt x="315630" y="379304"/>
                    <a:pt x="314325" y="361819"/>
                    <a:pt x="314325" y="39528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A014D39-210A-708D-856E-8B828F7FE472}"/>
                </a:ext>
              </a:extLst>
            </p:cNvPr>
            <p:cNvSpPr/>
            <p:nvPr/>
          </p:nvSpPr>
          <p:spPr bwMode="gray">
            <a:xfrm>
              <a:off x="8598393" y="4530660"/>
              <a:ext cx="659023" cy="93632"/>
            </a:xfrm>
            <a:custGeom>
              <a:avLst/>
              <a:gdLst>
                <a:gd name="connsiteX0" fmla="*/ 0 w 871537"/>
                <a:gd name="connsiteY0" fmla="*/ 123825 h 123825"/>
                <a:gd name="connsiteX1" fmla="*/ 23812 w 871537"/>
                <a:gd name="connsiteY1" fmla="*/ 119062 h 123825"/>
                <a:gd name="connsiteX2" fmla="*/ 109537 w 871537"/>
                <a:gd name="connsiteY2" fmla="*/ 80962 h 123825"/>
                <a:gd name="connsiteX3" fmla="*/ 119062 w 871537"/>
                <a:gd name="connsiteY3" fmla="*/ 66675 h 123825"/>
                <a:gd name="connsiteX4" fmla="*/ 157162 w 871537"/>
                <a:gd name="connsiteY4" fmla="*/ 52387 h 123825"/>
                <a:gd name="connsiteX5" fmla="*/ 242887 w 871537"/>
                <a:gd name="connsiteY5" fmla="*/ 61912 h 123825"/>
                <a:gd name="connsiteX6" fmla="*/ 295275 w 871537"/>
                <a:gd name="connsiteY6" fmla="*/ 76200 h 123825"/>
                <a:gd name="connsiteX7" fmla="*/ 352425 w 871537"/>
                <a:gd name="connsiteY7" fmla="*/ 85725 h 123825"/>
                <a:gd name="connsiteX8" fmla="*/ 376237 w 871537"/>
                <a:gd name="connsiteY8" fmla="*/ 76200 h 123825"/>
                <a:gd name="connsiteX9" fmla="*/ 390525 w 871537"/>
                <a:gd name="connsiteY9" fmla="*/ 66675 h 123825"/>
                <a:gd name="connsiteX10" fmla="*/ 414337 w 871537"/>
                <a:gd name="connsiteY10" fmla="*/ 57150 h 123825"/>
                <a:gd name="connsiteX11" fmla="*/ 514350 w 871537"/>
                <a:gd name="connsiteY11" fmla="*/ 71437 h 123825"/>
                <a:gd name="connsiteX12" fmla="*/ 557212 w 871537"/>
                <a:gd name="connsiteY12" fmla="*/ 66675 h 123825"/>
                <a:gd name="connsiteX13" fmla="*/ 619125 w 871537"/>
                <a:gd name="connsiteY13" fmla="*/ 47625 h 123825"/>
                <a:gd name="connsiteX14" fmla="*/ 790575 w 871537"/>
                <a:gd name="connsiteY14" fmla="*/ 28575 h 123825"/>
                <a:gd name="connsiteX15" fmla="*/ 809625 w 871537"/>
                <a:gd name="connsiteY15" fmla="*/ 23812 h 123825"/>
                <a:gd name="connsiteX16" fmla="*/ 823912 w 871537"/>
                <a:gd name="connsiteY16" fmla="*/ 9525 h 123825"/>
                <a:gd name="connsiteX17" fmla="*/ 842962 w 871537"/>
                <a:gd name="connsiteY17" fmla="*/ 0 h 123825"/>
                <a:gd name="connsiteX18" fmla="*/ 871537 w 871537"/>
                <a:gd name="connsiteY18" fmla="*/ 4762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71537" h="123825">
                  <a:moveTo>
                    <a:pt x="0" y="123825"/>
                  </a:moveTo>
                  <a:cubicBezTo>
                    <a:pt x="7937" y="122237"/>
                    <a:pt x="16179" y="121756"/>
                    <a:pt x="23812" y="119062"/>
                  </a:cubicBezTo>
                  <a:cubicBezTo>
                    <a:pt x="61775" y="105663"/>
                    <a:pt x="77477" y="96993"/>
                    <a:pt x="109537" y="80962"/>
                  </a:cubicBezTo>
                  <a:cubicBezTo>
                    <a:pt x="112712" y="76200"/>
                    <a:pt x="114665" y="70339"/>
                    <a:pt x="119062" y="66675"/>
                  </a:cubicBezTo>
                  <a:cubicBezTo>
                    <a:pt x="129735" y="57781"/>
                    <a:pt x="144345" y="55592"/>
                    <a:pt x="157162" y="52387"/>
                  </a:cubicBezTo>
                  <a:cubicBezTo>
                    <a:pt x="185737" y="55562"/>
                    <a:pt x="214470" y="57540"/>
                    <a:pt x="242887" y="61912"/>
                  </a:cubicBezTo>
                  <a:cubicBezTo>
                    <a:pt x="303259" y="71200"/>
                    <a:pt x="261895" y="67855"/>
                    <a:pt x="295275" y="76200"/>
                  </a:cubicBezTo>
                  <a:cubicBezTo>
                    <a:pt x="313838" y="80841"/>
                    <a:pt x="333619" y="83038"/>
                    <a:pt x="352425" y="85725"/>
                  </a:cubicBezTo>
                  <a:cubicBezTo>
                    <a:pt x="360362" y="82550"/>
                    <a:pt x="368591" y="80023"/>
                    <a:pt x="376237" y="76200"/>
                  </a:cubicBezTo>
                  <a:cubicBezTo>
                    <a:pt x="381357" y="73640"/>
                    <a:pt x="385405" y="69235"/>
                    <a:pt x="390525" y="66675"/>
                  </a:cubicBezTo>
                  <a:cubicBezTo>
                    <a:pt x="398171" y="62852"/>
                    <a:pt x="406400" y="60325"/>
                    <a:pt x="414337" y="57150"/>
                  </a:cubicBezTo>
                  <a:cubicBezTo>
                    <a:pt x="447675" y="61912"/>
                    <a:pt x="480748" y="69197"/>
                    <a:pt x="514350" y="71437"/>
                  </a:cubicBezTo>
                  <a:cubicBezTo>
                    <a:pt x="528693" y="72393"/>
                    <a:pt x="543179" y="69793"/>
                    <a:pt x="557212" y="66675"/>
                  </a:cubicBezTo>
                  <a:cubicBezTo>
                    <a:pt x="623955" y="51843"/>
                    <a:pt x="577785" y="55376"/>
                    <a:pt x="619125" y="47625"/>
                  </a:cubicBezTo>
                  <a:cubicBezTo>
                    <a:pt x="695019" y="33395"/>
                    <a:pt x="694578" y="36575"/>
                    <a:pt x="790575" y="28575"/>
                  </a:cubicBezTo>
                  <a:cubicBezTo>
                    <a:pt x="796925" y="26987"/>
                    <a:pt x="803942" y="27059"/>
                    <a:pt x="809625" y="23812"/>
                  </a:cubicBezTo>
                  <a:cubicBezTo>
                    <a:pt x="815473" y="20470"/>
                    <a:pt x="818432" y="13440"/>
                    <a:pt x="823912" y="9525"/>
                  </a:cubicBezTo>
                  <a:cubicBezTo>
                    <a:pt x="829689" y="5399"/>
                    <a:pt x="836612" y="3175"/>
                    <a:pt x="842962" y="0"/>
                  </a:cubicBezTo>
                  <a:lnTo>
                    <a:pt x="871537" y="4762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0220F043-A1C5-3806-91C8-52755F7FECAE}"/>
                </a:ext>
              </a:extLst>
            </p:cNvPr>
            <p:cNvSpPr/>
            <p:nvPr/>
          </p:nvSpPr>
          <p:spPr bwMode="gray">
            <a:xfrm>
              <a:off x="8483154" y="4437028"/>
              <a:ext cx="460956" cy="108037"/>
            </a:xfrm>
            <a:custGeom>
              <a:avLst/>
              <a:gdLst>
                <a:gd name="connsiteX0" fmla="*/ 0 w 609600"/>
                <a:gd name="connsiteY0" fmla="*/ 142875 h 142875"/>
                <a:gd name="connsiteX1" fmla="*/ 38100 w 609600"/>
                <a:gd name="connsiteY1" fmla="*/ 80962 h 142875"/>
                <a:gd name="connsiteX2" fmla="*/ 57150 w 609600"/>
                <a:gd name="connsiteY2" fmla="*/ 57150 h 142875"/>
                <a:gd name="connsiteX3" fmla="*/ 66675 w 609600"/>
                <a:gd name="connsiteY3" fmla="*/ 38100 h 142875"/>
                <a:gd name="connsiteX4" fmla="*/ 95250 w 609600"/>
                <a:gd name="connsiteY4" fmla="*/ 33337 h 142875"/>
                <a:gd name="connsiteX5" fmla="*/ 223837 w 609600"/>
                <a:gd name="connsiteY5" fmla="*/ 28575 h 142875"/>
                <a:gd name="connsiteX6" fmla="*/ 242887 w 609600"/>
                <a:gd name="connsiteY6" fmla="*/ 19050 h 142875"/>
                <a:gd name="connsiteX7" fmla="*/ 257175 w 609600"/>
                <a:gd name="connsiteY7" fmla="*/ 9525 h 142875"/>
                <a:gd name="connsiteX8" fmla="*/ 280987 w 609600"/>
                <a:gd name="connsiteY8" fmla="*/ 0 h 142875"/>
                <a:gd name="connsiteX9" fmla="*/ 385762 w 609600"/>
                <a:gd name="connsiteY9" fmla="*/ 9525 h 142875"/>
                <a:gd name="connsiteX10" fmla="*/ 404812 w 609600"/>
                <a:gd name="connsiteY10" fmla="*/ 14287 h 142875"/>
                <a:gd name="connsiteX11" fmla="*/ 428625 w 609600"/>
                <a:gd name="connsiteY11" fmla="*/ 33337 h 142875"/>
                <a:gd name="connsiteX12" fmla="*/ 476250 w 609600"/>
                <a:gd name="connsiteY12" fmla="*/ 47625 h 142875"/>
                <a:gd name="connsiteX13" fmla="*/ 609600 w 609600"/>
                <a:gd name="connsiteY13" fmla="*/ 4286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600" h="142875">
                  <a:moveTo>
                    <a:pt x="0" y="142875"/>
                  </a:moveTo>
                  <a:cubicBezTo>
                    <a:pt x="15091" y="120239"/>
                    <a:pt x="25735" y="105693"/>
                    <a:pt x="38100" y="80962"/>
                  </a:cubicBezTo>
                  <a:cubicBezTo>
                    <a:pt x="49602" y="57958"/>
                    <a:pt x="33064" y="73207"/>
                    <a:pt x="57150" y="57150"/>
                  </a:cubicBezTo>
                  <a:cubicBezTo>
                    <a:pt x="60325" y="50800"/>
                    <a:pt x="60655" y="41863"/>
                    <a:pt x="66675" y="38100"/>
                  </a:cubicBezTo>
                  <a:cubicBezTo>
                    <a:pt x="74864" y="32982"/>
                    <a:pt x="85611" y="33921"/>
                    <a:pt x="95250" y="33337"/>
                  </a:cubicBezTo>
                  <a:cubicBezTo>
                    <a:pt x="138063" y="30742"/>
                    <a:pt x="180975" y="30162"/>
                    <a:pt x="223837" y="28575"/>
                  </a:cubicBezTo>
                  <a:cubicBezTo>
                    <a:pt x="230187" y="25400"/>
                    <a:pt x="236723" y="22572"/>
                    <a:pt x="242887" y="19050"/>
                  </a:cubicBezTo>
                  <a:cubicBezTo>
                    <a:pt x="247857" y="16210"/>
                    <a:pt x="252055" y="12085"/>
                    <a:pt x="257175" y="9525"/>
                  </a:cubicBezTo>
                  <a:cubicBezTo>
                    <a:pt x="264821" y="5702"/>
                    <a:pt x="273050" y="3175"/>
                    <a:pt x="280987" y="0"/>
                  </a:cubicBezTo>
                  <a:cubicBezTo>
                    <a:pt x="315912" y="3175"/>
                    <a:pt x="350924" y="5505"/>
                    <a:pt x="385762" y="9525"/>
                  </a:cubicBezTo>
                  <a:cubicBezTo>
                    <a:pt x="392264" y="10275"/>
                    <a:pt x="399090" y="11108"/>
                    <a:pt x="404812" y="14287"/>
                  </a:cubicBezTo>
                  <a:cubicBezTo>
                    <a:pt x="413698" y="19223"/>
                    <a:pt x="420167" y="27698"/>
                    <a:pt x="428625" y="33337"/>
                  </a:cubicBezTo>
                  <a:cubicBezTo>
                    <a:pt x="447083" y="45642"/>
                    <a:pt x="453225" y="43787"/>
                    <a:pt x="476250" y="47625"/>
                  </a:cubicBezTo>
                  <a:cubicBezTo>
                    <a:pt x="603248" y="42740"/>
                    <a:pt x="558769" y="42862"/>
                    <a:pt x="609600" y="42862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C2E9EA17-4848-DB60-C4A4-24E9633DD505}"/>
                </a:ext>
              </a:extLst>
            </p:cNvPr>
            <p:cNvSpPr/>
            <p:nvPr/>
          </p:nvSpPr>
          <p:spPr bwMode="gray">
            <a:xfrm>
              <a:off x="8879007" y="4289379"/>
              <a:ext cx="83109" cy="180061"/>
            </a:xfrm>
            <a:custGeom>
              <a:avLst/>
              <a:gdLst>
                <a:gd name="connsiteX0" fmla="*/ 109908 w 109908"/>
                <a:gd name="connsiteY0" fmla="*/ 0 h 238125"/>
                <a:gd name="connsiteX1" fmla="*/ 90858 w 109908"/>
                <a:gd name="connsiteY1" fmla="*/ 66675 h 238125"/>
                <a:gd name="connsiteX2" fmla="*/ 62283 w 109908"/>
                <a:gd name="connsiteY2" fmla="*/ 85725 h 238125"/>
                <a:gd name="connsiteX3" fmla="*/ 28946 w 109908"/>
                <a:gd name="connsiteY3" fmla="*/ 114300 h 238125"/>
                <a:gd name="connsiteX4" fmla="*/ 19421 w 109908"/>
                <a:gd name="connsiteY4" fmla="*/ 133350 h 238125"/>
                <a:gd name="connsiteX5" fmla="*/ 14658 w 109908"/>
                <a:gd name="connsiteY5" fmla="*/ 147638 h 238125"/>
                <a:gd name="connsiteX6" fmla="*/ 5133 w 109908"/>
                <a:gd name="connsiteY6" fmla="*/ 166688 h 238125"/>
                <a:gd name="connsiteX7" fmla="*/ 371 w 109908"/>
                <a:gd name="connsiteY7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908" h="238125">
                  <a:moveTo>
                    <a:pt x="109908" y="0"/>
                  </a:moveTo>
                  <a:cubicBezTo>
                    <a:pt x="108963" y="4251"/>
                    <a:pt x="99724" y="56701"/>
                    <a:pt x="90858" y="66675"/>
                  </a:cubicBezTo>
                  <a:cubicBezTo>
                    <a:pt x="83253" y="75231"/>
                    <a:pt x="70377" y="77630"/>
                    <a:pt x="62283" y="85725"/>
                  </a:cubicBezTo>
                  <a:cubicBezTo>
                    <a:pt x="42384" y="105626"/>
                    <a:pt x="53384" y="95972"/>
                    <a:pt x="28946" y="114300"/>
                  </a:cubicBezTo>
                  <a:cubicBezTo>
                    <a:pt x="25771" y="120650"/>
                    <a:pt x="22218" y="126825"/>
                    <a:pt x="19421" y="133350"/>
                  </a:cubicBezTo>
                  <a:cubicBezTo>
                    <a:pt x="17443" y="137964"/>
                    <a:pt x="16636" y="143024"/>
                    <a:pt x="14658" y="147638"/>
                  </a:cubicBezTo>
                  <a:cubicBezTo>
                    <a:pt x="11861" y="154163"/>
                    <a:pt x="8308" y="160338"/>
                    <a:pt x="5133" y="166688"/>
                  </a:cubicBezTo>
                  <a:cubicBezTo>
                    <a:pt x="-1978" y="209356"/>
                    <a:pt x="371" y="185607"/>
                    <a:pt x="371" y="23812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483B911-1825-98E6-0763-C6E58421B43A}"/>
                </a:ext>
              </a:extLst>
            </p:cNvPr>
            <p:cNvSpPr/>
            <p:nvPr/>
          </p:nvSpPr>
          <p:spPr bwMode="gray">
            <a:xfrm>
              <a:off x="8958414" y="4375808"/>
              <a:ext cx="169358" cy="162055"/>
            </a:xfrm>
            <a:custGeom>
              <a:avLst/>
              <a:gdLst>
                <a:gd name="connsiteX0" fmla="*/ 9659 w 223971"/>
                <a:gd name="connsiteY0" fmla="*/ 214313 h 214313"/>
                <a:gd name="connsiteX1" fmla="*/ 134 w 223971"/>
                <a:gd name="connsiteY1" fmla="*/ 190500 h 214313"/>
                <a:gd name="connsiteX2" fmla="*/ 14421 w 223971"/>
                <a:gd name="connsiteY2" fmla="*/ 95250 h 214313"/>
                <a:gd name="connsiteX3" fmla="*/ 38234 w 223971"/>
                <a:gd name="connsiteY3" fmla="*/ 61913 h 214313"/>
                <a:gd name="connsiteX4" fmla="*/ 90621 w 223971"/>
                <a:gd name="connsiteY4" fmla="*/ 14288 h 214313"/>
                <a:gd name="connsiteX5" fmla="*/ 128721 w 223971"/>
                <a:gd name="connsiteY5" fmla="*/ 4763 h 214313"/>
                <a:gd name="connsiteX6" fmla="*/ 223971 w 223971"/>
                <a:gd name="connsiteY6" fmla="*/ 0 h 21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971" h="214313">
                  <a:moveTo>
                    <a:pt x="9659" y="214313"/>
                  </a:moveTo>
                  <a:cubicBezTo>
                    <a:pt x="6484" y="206375"/>
                    <a:pt x="667" y="199032"/>
                    <a:pt x="134" y="190500"/>
                  </a:cubicBezTo>
                  <a:cubicBezTo>
                    <a:pt x="-1169" y="169659"/>
                    <a:pt x="7261" y="116731"/>
                    <a:pt x="14421" y="95250"/>
                  </a:cubicBezTo>
                  <a:cubicBezTo>
                    <a:pt x="15860" y="90932"/>
                    <a:pt x="37831" y="62557"/>
                    <a:pt x="38234" y="61913"/>
                  </a:cubicBezTo>
                  <a:cubicBezTo>
                    <a:pt x="55566" y="34183"/>
                    <a:pt x="41544" y="30648"/>
                    <a:pt x="90621" y="14288"/>
                  </a:cubicBezTo>
                  <a:cubicBezTo>
                    <a:pt x="104148" y="9779"/>
                    <a:pt x="113594" y="5973"/>
                    <a:pt x="128721" y="4763"/>
                  </a:cubicBezTo>
                  <a:cubicBezTo>
                    <a:pt x="160409" y="2228"/>
                    <a:pt x="223971" y="0"/>
                    <a:pt x="223971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D74DE2E3-6E1C-9535-6B38-70F8DFFBF211}"/>
                </a:ext>
              </a:extLst>
            </p:cNvPr>
            <p:cNvSpPr/>
            <p:nvPr/>
          </p:nvSpPr>
          <p:spPr bwMode="gray">
            <a:xfrm>
              <a:off x="7564844" y="6107714"/>
              <a:ext cx="66501" cy="549601"/>
            </a:xfrm>
            <a:custGeom>
              <a:avLst/>
              <a:gdLst>
                <a:gd name="connsiteX0" fmla="*/ 52754 w 87945"/>
                <a:gd name="connsiteY0" fmla="*/ 726831 h 726831"/>
                <a:gd name="connsiteX1" fmla="*/ 58615 w 87945"/>
                <a:gd name="connsiteY1" fmla="*/ 597877 h 726831"/>
                <a:gd name="connsiteX2" fmla="*/ 82062 w 87945"/>
                <a:gd name="connsiteY2" fmla="*/ 574431 h 726831"/>
                <a:gd name="connsiteX3" fmla="*/ 87923 w 87945"/>
                <a:gd name="connsiteY3" fmla="*/ 550985 h 726831"/>
                <a:gd name="connsiteX4" fmla="*/ 70338 w 87945"/>
                <a:gd name="connsiteY4" fmla="*/ 422031 h 726831"/>
                <a:gd name="connsiteX5" fmla="*/ 64477 w 87945"/>
                <a:gd name="connsiteY5" fmla="*/ 404446 h 726831"/>
                <a:gd name="connsiteX6" fmla="*/ 46892 w 87945"/>
                <a:gd name="connsiteY6" fmla="*/ 328246 h 726831"/>
                <a:gd name="connsiteX7" fmla="*/ 35169 w 87945"/>
                <a:gd name="connsiteY7" fmla="*/ 281354 h 726831"/>
                <a:gd name="connsiteX8" fmla="*/ 17585 w 87945"/>
                <a:gd name="connsiteY8" fmla="*/ 240323 h 726831"/>
                <a:gd name="connsiteX9" fmla="*/ 5862 w 87945"/>
                <a:gd name="connsiteY9" fmla="*/ 193431 h 726831"/>
                <a:gd name="connsiteX10" fmla="*/ 0 w 87945"/>
                <a:gd name="connsiteY10" fmla="*/ 175846 h 726831"/>
                <a:gd name="connsiteX11" fmla="*/ 5862 w 87945"/>
                <a:gd name="connsiteY11" fmla="*/ 23446 h 726831"/>
                <a:gd name="connsiteX12" fmla="*/ 23446 w 87945"/>
                <a:gd name="connsiteY12" fmla="*/ 0 h 726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945" h="726831">
                  <a:moveTo>
                    <a:pt x="52754" y="726831"/>
                  </a:moveTo>
                  <a:cubicBezTo>
                    <a:pt x="44202" y="675521"/>
                    <a:pt x="38819" y="663863"/>
                    <a:pt x="58615" y="597877"/>
                  </a:cubicBezTo>
                  <a:cubicBezTo>
                    <a:pt x="61791" y="587290"/>
                    <a:pt x="74246" y="582246"/>
                    <a:pt x="82062" y="574431"/>
                  </a:cubicBezTo>
                  <a:cubicBezTo>
                    <a:pt x="84016" y="566616"/>
                    <a:pt x="88289" y="559033"/>
                    <a:pt x="87923" y="550985"/>
                  </a:cubicBezTo>
                  <a:cubicBezTo>
                    <a:pt x="85887" y="506188"/>
                    <a:pt x="82375" y="464162"/>
                    <a:pt x="70338" y="422031"/>
                  </a:cubicBezTo>
                  <a:cubicBezTo>
                    <a:pt x="68641" y="416090"/>
                    <a:pt x="66103" y="410407"/>
                    <a:pt x="64477" y="404446"/>
                  </a:cubicBezTo>
                  <a:cubicBezTo>
                    <a:pt x="42817" y="325024"/>
                    <a:pt x="60564" y="387492"/>
                    <a:pt x="46892" y="328246"/>
                  </a:cubicBezTo>
                  <a:cubicBezTo>
                    <a:pt x="43269" y="312547"/>
                    <a:pt x="39408" y="296898"/>
                    <a:pt x="35169" y="281354"/>
                  </a:cubicBezTo>
                  <a:cubicBezTo>
                    <a:pt x="19802" y="225008"/>
                    <a:pt x="41607" y="312388"/>
                    <a:pt x="17585" y="240323"/>
                  </a:cubicBezTo>
                  <a:cubicBezTo>
                    <a:pt x="12490" y="225038"/>
                    <a:pt x="10957" y="208716"/>
                    <a:pt x="5862" y="193431"/>
                  </a:cubicBezTo>
                  <a:lnTo>
                    <a:pt x="0" y="175846"/>
                  </a:lnTo>
                  <a:cubicBezTo>
                    <a:pt x="1954" y="125046"/>
                    <a:pt x="2364" y="74163"/>
                    <a:pt x="5862" y="23446"/>
                  </a:cubicBezTo>
                  <a:cubicBezTo>
                    <a:pt x="7155" y="4692"/>
                    <a:pt x="10404" y="6522"/>
                    <a:pt x="23446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6AF3193C-6D0E-AA7F-C899-1EEF02459E5B}"/>
                </a:ext>
              </a:extLst>
            </p:cNvPr>
            <p:cNvSpPr/>
            <p:nvPr/>
          </p:nvSpPr>
          <p:spPr bwMode="gray">
            <a:xfrm>
              <a:off x="6806926" y="5549249"/>
              <a:ext cx="327988" cy="700298"/>
            </a:xfrm>
            <a:custGeom>
              <a:avLst/>
              <a:gdLst>
                <a:gd name="connsiteX0" fmla="*/ 433754 w 433754"/>
                <a:gd name="connsiteY0" fmla="*/ 0 h 926123"/>
                <a:gd name="connsiteX1" fmla="*/ 416169 w 433754"/>
                <a:gd name="connsiteY1" fmla="*/ 46893 h 926123"/>
                <a:gd name="connsiteX2" fmla="*/ 392723 w 433754"/>
                <a:gd name="connsiteY2" fmla="*/ 58616 h 926123"/>
                <a:gd name="connsiteX3" fmla="*/ 357554 w 433754"/>
                <a:gd name="connsiteY3" fmla="*/ 82062 h 926123"/>
                <a:gd name="connsiteX4" fmla="*/ 328246 w 433754"/>
                <a:gd name="connsiteY4" fmla="*/ 99646 h 926123"/>
                <a:gd name="connsiteX5" fmla="*/ 304800 w 433754"/>
                <a:gd name="connsiteY5" fmla="*/ 117231 h 926123"/>
                <a:gd name="connsiteX6" fmla="*/ 287215 w 433754"/>
                <a:gd name="connsiteY6" fmla="*/ 128954 h 926123"/>
                <a:gd name="connsiteX7" fmla="*/ 269631 w 433754"/>
                <a:gd name="connsiteY7" fmla="*/ 193431 h 926123"/>
                <a:gd name="connsiteX8" fmla="*/ 246185 w 433754"/>
                <a:gd name="connsiteY8" fmla="*/ 240323 h 926123"/>
                <a:gd name="connsiteX9" fmla="*/ 222738 w 433754"/>
                <a:gd name="connsiteY9" fmla="*/ 281354 h 926123"/>
                <a:gd name="connsiteX10" fmla="*/ 211015 w 433754"/>
                <a:gd name="connsiteY10" fmla="*/ 422031 h 926123"/>
                <a:gd name="connsiteX11" fmla="*/ 193431 w 433754"/>
                <a:gd name="connsiteY11" fmla="*/ 439616 h 926123"/>
                <a:gd name="connsiteX12" fmla="*/ 158261 w 433754"/>
                <a:gd name="connsiteY12" fmla="*/ 463062 h 926123"/>
                <a:gd name="connsiteX13" fmla="*/ 117231 w 433754"/>
                <a:gd name="connsiteY13" fmla="*/ 486508 h 926123"/>
                <a:gd name="connsiteX14" fmla="*/ 99646 w 433754"/>
                <a:gd name="connsiteY14" fmla="*/ 521677 h 926123"/>
                <a:gd name="connsiteX15" fmla="*/ 82061 w 433754"/>
                <a:gd name="connsiteY15" fmla="*/ 568570 h 926123"/>
                <a:gd name="connsiteX16" fmla="*/ 70338 w 433754"/>
                <a:gd name="connsiteY16" fmla="*/ 597877 h 926123"/>
                <a:gd name="connsiteX17" fmla="*/ 52754 w 433754"/>
                <a:gd name="connsiteY17" fmla="*/ 615462 h 926123"/>
                <a:gd name="connsiteX18" fmla="*/ 46892 w 433754"/>
                <a:gd name="connsiteY18" fmla="*/ 679939 h 926123"/>
                <a:gd name="connsiteX19" fmla="*/ 58615 w 433754"/>
                <a:gd name="connsiteY19" fmla="*/ 762000 h 926123"/>
                <a:gd name="connsiteX20" fmla="*/ 41031 w 433754"/>
                <a:gd name="connsiteY20" fmla="*/ 873370 h 926123"/>
                <a:gd name="connsiteX21" fmla="*/ 17585 w 433754"/>
                <a:gd name="connsiteY21" fmla="*/ 885093 h 926123"/>
                <a:gd name="connsiteX22" fmla="*/ 5861 w 433754"/>
                <a:gd name="connsiteY22" fmla="*/ 902677 h 926123"/>
                <a:gd name="connsiteX23" fmla="*/ 0 w 433754"/>
                <a:gd name="connsiteY23" fmla="*/ 926123 h 92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33754" h="926123">
                  <a:moveTo>
                    <a:pt x="433754" y="0"/>
                  </a:moveTo>
                  <a:cubicBezTo>
                    <a:pt x="430414" y="16699"/>
                    <a:pt x="430658" y="34819"/>
                    <a:pt x="416169" y="46893"/>
                  </a:cubicBezTo>
                  <a:cubicBezTo>
                    <a:pt x="409456" y="52487"/>
                    <a:pt x="400216" y="54120"/>
                    <a:pt x="392723" y="58616"/>
                  </a:cubicBezTo>
                  <a:cubicBezTo>
                    <a:pt x="380642" y="65865"/>
                    <a:pt x="369441" y="74498"/>
                    <a:pt x="357554" y="82062"/>
                  </a:cubicBezTo>
                  <a:cubicBezTo>
                    <a:pt x="347942" y="88178"/>
                    <a:pt x="337725" y="93326"/>
                    <a:pt x="328246" y="99646"/>
                  </a:cubicBezTo>
                  <a:cubicBezTo>
                    <a:pt x="320117" y="105065"/>
                    <a:pt x="312750" y="111553"/>
                    <a:pt x="304800" y="117231"/>
                  </a:cubicBezTo>
                  <a:cubicBezTo>
                    <a:pt x="299067" y="121326"/>
                    <a:pt x="293077" y="125046"/>
                    <a:pt x="287215" y="128954"/>
                  </a:cubicBezTo>
                  <a:cubicBezTo>
                    <a:pt x="281209" y="164992"/>
                    <a:pt x="284365" y="161508"/>
                    <a:pt x="269631" y="193431"/>
                  </a:cubicBezTo>
                  <a:cubicBezTo>
                    <a:pt x="262308" y="209298"/>
                    <a:pt x="251712" y="223744"/>
                    <a:pt x="246185" y="240323"/>
                  </a:cubicBezTo>
                  <a:cubicBezTo>
                    <a:pt x="237234" y="267176"/>
                    <a:pt x="244030" y="252965"/>
                    <a:pt x="222738" y="281354"/>
                  </a:cubicBezTo>
                  <a:cubicBezTo>
                    <a:pt x="218830" y="328246"/>
                    <a:pt x="219583" y="375763"/>
                    <a:pt x="211015" y="422031"/>
                  </a:cubicBezTo>
                  <a:cubicBezTo>
                    <a:pt x="209506" y="430182"/>
                    <a:pt x="199974" y="434527"/>
                    <a:pt x="193431" y="439616"/>
                  </a:cubicBezTo>
                  <a:cubicBezTo>
                    <a:pt x="182309" y="448266"/>
                    <a:pt x="169984" y="455247"/>
                    <a:pt x="158261" y="463062"/>
                  </a:cubicBezTo>
                  <a:cubicBezTo>
                    <a:pt x="133403" y="479634"/>
                    <a:pt x="146982" y="471632"/>
                    <a:pt x="117231" y="486508"/>
                  </a:cubicBezTo>
                  <a:cubicBezTo>
                    <a:pt x="102495" y="530713"/>
                    <a:pt x="122374" y="476222"/>
                    <a:pt x="99646" y="521677"/>
                  </a:cubicBezTo>
                  <a:cubicBezTo>
                    <a:pt x="88321" y="544328"/>
                    <a:pt x="89669" y="548281"/>
                    <a:pt x="82061" y="568570"/>
                  </a:cubicBezTo>
                  <a:cubicBezTo>
                    <a:pt x="78367" y="578422"/>
                    <a:pt x="75914" y="588955"/>
                    <a:pt x="70338" y="597877"/>
                  </a:cubicBezTo>
                  <a:cubicBezTo>
                    <a:pt x="65945" y="604906"/>
                    <a:pt x="58615" y="609600"/>
                    <a:pt x="52754" y="615462"/>
                  </a:cubicBezTo>
                  <a:cubicBezTo>
                    <a:pt x="50800" y="636954"/>
                    <a:pt x="46892" y="658358"/>
                    <a:pt x="46892" y="679939"/>
                  </a:cubicBezTo>
                  <a:cubicBezTo>
                    <a:pt x="46892" y="694603"/>
                    <a:pt x="55700" y="744506"/>
                    <a:pt x="58615" y="762000"/>
                  </a:cubicBezTo>
                  <a:cubicBezTo>
                    <a:pt x="58001" y="771825"/>
                    <a:pt x="68849" y="850188"/>
                    <a:pt x="41031" y="873370"/>
                  </a:cubicBezTo>
                  <a:cubicBezTo>
                    <a:pt x="34318" y="878964"/>
                    <a:pt x="25400" y="881185"/>
                    <a:pt x="17585" y="885093"/>
                  </a:cubicBezTo>
                  <a:cubicBezTo>
                    <a:pt x="13677" y="890954"/>
                    <a:pt x="8636" y="896202"/>
                    <a:pt x="5861" y="902677"/>
                  </a:cubicBezTo>
                  <a:cubicBezTo>
                    <a:pt x="2688" y="910081"/>
                    <a:pt x="0" y="926123"/>
                    <a:pt x="0" y="92612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469181FA-4C3E-3AD4-2B44-7AA1C8772A75}"/>
                </a:ext>
              </a:extLst>
            </p:cNvPr>
            <p:cNvSpPr/>
            <p:nvPr/>
          </p:nvSpPr>
          <p:spPr bwMode="gray">
            <a:xfrm>
              <a:off x="7170310" y="4596312"/>
              <a:ext cx="279295" cy="421065"/>
            </a:xfrm>
            <a:custGeom>
              <a:avLst/>
              <a:gdLst>
                <a:gd name="connsiteX0" fmla="*/ 369359 w 369359"/>
                <a:gd name="connsiteY0" fmla="*/ 0 h 556846"/>
                <a:gd name="connsiteX1" fmla="*/ 363497 w 369359"/>
                <a:gd name="connsiteY1" fmla="*/ 35169 h 556846"/>
                <a:gd name="connsiteX2" fmla="*/ 340051 w 369359"/>
                <a:gd name="connsiteY2" fmla="*/ 46892 h 556846"/>
                <a:gd name="connsiteX3" fmla="*/ 287297 w 369359"/>
                <a:gd name="connsiteY3" fmla="*/ 58615 h 556846"/>
                <a:gd name="connsiteX4" fmla="*/ 269713 w 369359"/>
                <a:gd name="connsiteY4" fmla="*/ 111369 h 556846"/>
                <a:gd name="connsiteX5" fmla="*/ 252128 w 369359"/>
                <a:gd name="connsiteY5" fmla="*/ 158261 h 556846"/>
                <a:gd name="connsiteX6" fmla="*/ 228682 w 369359"/>
                <a:gd name="connsiteY6" fmla="*/ 187569 h 556846"/>
                <a:gd name="connsiteX7" fmla="*/ 193513 w 369359"/>
                <a:gd name="connsiteY7" fmla="*/ 216876 h 556846"/>
                <a:gd name="connsiteX8" fmla="*/ 175928 w 369359"/>
                <a:gd name="connsiteY8" fmla="*/ 240323 h 556846"/>
                <a:gd name="connsiteX9" fmla="*/ 152482 w 369359"/>
                <a:gd name="connsiteY9" fmla="*/ 287215 h 556846"/>
                <a:gd name="connsiteX10" fmla="*/ 140759 w 369359"/>
                <a:gd name="connsiteY10" fmla="*/ 334107 h 556846"/>
                <a:gd name="connsiteX11" fmla="*/ 134897 w 369359"/>
                <a:gd name="connsiteY11" fmla="*/ 357553 h 556846"/>
                <a:gd name="connsiteX12" fmla="*/ 82144 w 369359"/>
                <a:gd name="connsiteY12" fmla="*/ 410307 h 556846"/>
                <a:gd name="connsiteX13" fmla="*/ 58697 w 369359"/>
                <a:gd name="connsiteY13" fmla="*/ 422030 h 556846"/>
                <a:gd name="connsiteX14" fmla="*/ 17667 w 369359"/>
                <a:gd name="connsiteY14" fmla="*/ 474784 h 556846"/>
                <a:gd name="connsiteX15" fmla="*/ 11805 w 369359"/>
                <a:gd name="connsiteY15" fmla="*/ 492369 h 556846"/>
                <a:gd name="connsiteX16" fmla="*/ 5944 w 369359"/>
                <a:gd name="connsiteY16" fmla="*/ 527538 h 556846"/>
                <a:gd name="connsiteX17" fmla="*/ 82 w 369359"/>
                <a:gd name="connsiteY17" fmla="*/ 556846 h 55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9359" h="556846">
                  <a:moveTo>
                    <a:pt x="369359" y="0"/>
                  </a:moveTo>
                  <a:cubicBezTo>
                    <a:pt x="367405" y="11723"/>
                    <a:pt x="369796" y="25091"/>
                    <a:pt x="363497" y="35169"/>
                  </a:cubicBezTo>
                  <a:cubicBezTo>
                    <a:pt x="358866" y="42579"/>
                    <a:pt x="348082" y="43450"/>
                    <a:pt x="340051" y="46892"/>
                  </a:cubicBezTo>
                  <a:cubicBezTo>
                    <a:pt x="321688" y="54762"/>
                    <a:pt x="308370" y="55103"/>
                    <a:pt x="287297" y="58615"/>
                  </a:cubicBezTo>
                  <a:lnTo>
                    <a:pt x="269713" y="111369"/>
                  </a:lnTo>
                  <a:cubicBezTo>
                    <a:pt x="265670" y="123497"/>
                    <a:pt x="257380" y="149507"/>
                    <a:pt x="252128" y="158261"/>
                  </a:cubicBezTo>
                  <a:cubicBezTo>
                    <a:pt x="245691" y="168989"/>
                    <a:pt x="237528" y="178723"/>
                    <a:pt x="228682" y="187569"/>
                  </a:cubicBezTo>
                  <a:cubicBezTo>
                    <a:pt x="174415" y="241836"/>
                    <a:pt x="251125" y="149662"/>
                    <a:pt x="193513" y="216876"/>
                  </a:cubicBezTo>
                  <a:cubicBezTo>
                    <a:pt x="187155" y="224294"/>
                    <a:pt x="180851" y="231884"/>
                    <a:pt x="175928" y="240323"/>
                  </a:cubicBezTo>
                  <a:cubicBezTo>
                    <a:pt x="167123" y="255418"/>
                    <a:pt x="152482" y="287215"/>
                    <a:pt x="152482" y="287215"/>
                  </a:cubicBezTo>
                  <a:cubicBezTo>
                    <a:pt x="140568" y="346792"/>
                    <a:pt x="152774" y="292057"/>
                    <a:pt x="140759" y="334107"/>
                  </a:cubicBezTo>
                  <a:cubicBezTo>
                    <a:pt x="138546" y="341853"/>
                    <a:pt x="138809" y="350511"/>
                    <a:pt x="134897" y="357553"/>
                  </a:cubicBezTo>
                  <a:cubicBezTo>
                    <a:pt x="123404" y="378241"/>
                    <a:pt x="101453" y="397435"/>
                    <a:pt x="82144" y="410307"/>
                  </a:cubicBezTo>
                  <a:cubicBezTo>
                    <a:pt x="74873" y="415154"/>
                    <a:pt x="66513" y="418122"/>
                    <a:pt x="58697" y="422030"/>
                  </a:cubicBezTo>
                  <a:cubicBezTo>
                    <a:pt x="43525" y="437202"/>
                    <a:pt x="24678" y="453752"/>
                    <a:pt x="17667" y="474784"/>
                  </a:cubicBezTo>
                  <a:lnTo>
                    <a:pt x="11805" y="492369"/>
                  </a:lnTo>
                  <a:cubicBezTo>
                    <a:pt x="9851" y="504092"/>
                    <a:pt x="8522" y="515936"/>
                    <a:pt x="5944" y="527538"/>
                  </a:cubicBezTo>
                  <a:cubicBezTo>
                    <a:pt x="-1154" y="559478"/>
                    <a:pt x="82" y="532210"/>
                    <a:pt x="82" y="556846"/>
                  </a:cubicBezTo>
                </a:path>
              </a:pathLst>
            </a:custGeom>
            <a:noFill/>
            <a:ln w="28575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srgbClr val="012169"/>
                </a:solidFill>
                <a:latin typeface="Verdana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52B8428-5D52-A8CF-C5A6-E7201C378724}"/>
                </a:ext>
              </a:extLst>
            </p:cNvPr>
            <p:cNvSpPr/>
            <p:nvPr/>
          </p:nvSpPr>
          <p:spPr bwMode="gray">
            <a:xfrm>
              <a:off x="7157075" y="5021809"/>
              <a:ext cx="39891" cy="336852"/>
            </a:xfrm>
            <a:custGeom>
              <a:avLst/>
              <a:gdLst>
                <a:gd name="connsiteX0" fmla="*/ 0 w 52754"/>
                <a:gd name="connsiteY0" fmla="*/ 445477 h 445477"/>
                <a:gd name="connsiteX1" fmla="*/ 29308 w 52754"/>
                <a:gd name="connsiteY1" fmla="*/ 310662 h 445477"/>
                <a:gd name="connsiteX2" fmla="*/ 41031 w 52754"/>
                <a:gd name="connsiteY2" fmla="*/ 269631 h 445477"/>
                <a:gd name="connsiteX3" fmla="*/ 46893 w 52754"/>
                <a:gd name="connsiteY3" fmla="*/ 246185 h 445477"/>
                <a:gd name="connsiteX4" fmla="*/ 52754 w 52754"/>
                <a:gd name="connsiteY4" fmla="*/ 199293 h 445477"/>
                <a:gd name="connsiteX5" fmla="*/ 41031 w 52754"/>
                <a:gd name="connsiteY5" fmla="*/ 76200 h 445477"/>
                <a:gd name="connsiteX6" fmla="*/ 35170 w 52754"/>
                <a:gd name="connsiteY6" fmla="*/ 46893 h 445477"/>
                <a:gd name="connsiteX7" fmla="*/ 23447 w 52754"/>
                <a:gd name="connsiteY7" fmla="*/ 29308 h 445477"/>
                <a:gd name="connsiteX8" fmla="*/ 23447 w 52754"/>
                <a:gd name="connsiteY8" fmla="*/ 0 h 44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445477">
                  <a:moveTo>
                    <a:pt x="0" y="445477"/>
                  </a:moveTo>
                  <a:cubicBezTo>
                    <a:pt x="37020" y="383777"/>
                    <a:pt x="12508" y="433856"/>
                    <a:pt x="29308" y="310662"/>
                  </a:cubicBezTo>
                  <a:cubicBezTo>
                    <a:pt x="31697" y="293146"/>
                    <a:pt x="36436" y="285713"/>
                    <a:pt x="41031" y="269631"/>
                  </a:cubicBezTo>
                  <a:cubicBezTo>
                    <a:pt x="43244" y="261885"/>
                    <a:pt x="44939" y="254000"/>
                    <a:pt x="46893" y="246185"/>
                  </a:cubicBezTo>
                  <a:cubicBezTo>
                    <a:pt x="48847" y="230554"/>
                    <a:pt x="52754" y="215045"/>
                    <a:pt x="52754" y="199293"/>
                  </a:cubicBezTo>
                  <a:cubicBezTo>
                    <a:pt x="52754" y="149293"/>
                    <a:pt x="49031" y="120200"/>
                    <a:pt x="41031" y="76200"/>
                  </a:cubicBezTo>
                  <a:cubicBezTo>
                    <a:pt x="39249" y="66398"/>
                    <a:pt x="38668" y="56221"/>
                    <a:pt x="35170" y="46893"/>
                  </a:cubicBezTo>
                  <a:cubicBezTo>
                    <a:pt x="32696" y="40297"/>
                    <a:pt x="25156" y="36142"/>
                    <a:pt x="23447" y="29308"/>
                  </a:cubicBezTo>
                  <a:cubicBezTo>
                    <a:pt x="21078" y="19830"/>
                    <a:pt x="23447" y="9769"/>
                    <a:pt x="2344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6B33AC5C-AE5D-6917-FB42-56F97DDE88BD}"/>
                </a:ext>
              </a:extLst>
            </p:cNvPr>
            <p:cNvSpPr/>
            <p:nvPr/>
          </p:nvSpPr>
          <p:spPr bwMode="gray">
            <a:xfrm>
              <a:off x="7449605" y="4520963"/>
              <a:ext cx="48755" cy="79781"/>
            </a:xfrm>
            <a:custGeom>
              <a:avLst/>
              <a:gdLst>
                <a:gd name="connsiteX0" fmla="*/ 0 w 64477"/>
                <a:gd name="connsiteY0" fmla="*/ 105508 h 105508"/>
                <a:gd name="connsiteX1" fmla="*/ 29308 w 64477"/>
                <a:gd name="connsiteY1" fmla="*/ 58616 h 105508"/>
                <a:gd name="connsiteX2" fmla="*/ 52754 w 64477"/>
                <a:gd name="connsiteY2" fmla="*/ 23447 h 105508"/>
                <a:gd name="connsiteX3" fmla="*/ 64477 w 64477"/>
                <a:gd name="connsiteY3" fmla="*/ 0 h 10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77" h="105508">
                  <a:moveTo>
                    <a:pt x="0" y="105508"/>
                  </a:moveTo>
                  <a:cubicBezTo>
                    <a:pt x="22276" y="49817"/>
                    <a:pt x="-1606" y="98362"/>
                    <a:pt x="29308" y="58616"/>
                  </a:cubicBezTo>
                  <a:cubicBezTo>
                    <a:pt x="37958" y="47495"/>
                    <a:pt x="52754" y="23447"/>
                    <a:pt x="52754" y="23447"/>
                  </a:cubicBezTo>
                  <a:cubicBezTo>
                    <a:pt x="59489" y="3240"/>
                    <a:pt x="54246" y="10231"/>
                    <a:pt x="6447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9F4D432-1EFB-4F50-5ABA-0F5CE69B5F02}"/>
                </a:ext>
              </a:extLst>
            </p:cNvPr>
            <p:cNvSpPr/>
            <p:nvPr/>
          </p:nvSpPr>
          <p:spPr bwMode="gray">
            <a:xfrm>
              <a:off x="6288351" y="4950893"/>
              <a:ext cx="146265" cy="921910"/>
            </a:xfrm>
            <a:custGeom>
              <a:avLst/>
              <a:gdLst>
                <a:gd name="connsiteX0" fmla="*/ 0 w 193431"/>
                <a:gd name="connsiteY0" fmla="*/ 1219200 h 1219200"/>
                <a:gd name="connsiteX1" fmla="*/ 29308 w 193431"/>
                <a:gd name="connsiteY1" fmla="*/ 1195753 h 1219200"/>
                <a:gd name="connsiteX2" fmla="*/ 52754 w 193431"/>
                <a:gd name="connsiteY2" fmla="*/ 1184030 h 1219200"/>
                <a:gd name="connsiteX3" fmla="*/ 58615 w 193431"/>
                <a:gd name="connsiteY3" fmla="*/ 1166446 h 1219200"/>
                <a:gd name="connsiteX4" fmla="*/ 117231 w 193431"/>
                <a:gd name="connsiteY4" fmla="*/ 1119553 h 1219200"/>
                <a:gd name="connsiteX5" fmla="*/ 123092 w 193431"/>
                <a:gd name="connsiteY5" fmla="*/ 1090246 h 1219200"/>
                <a:gd name="connsiteX6" fmla="*/ 117231 w 193431"/>
                <a:gd name="connsiteY6" fmla="*/ 1037492 h 1219200"/>
                <a:gd name="connsiteX7" fmla="*/ 99646 w 193431"/>
                <a:gd name="connsiteY7" fmla="*/ 961292 h 1219200"/>
                <a:gd name="connsiteX8" fmla="*/ 111369 w 193431"/>
                <a:gd name="connsiteY8" fmla="*/ 902677 h 1219200"/>
                <a:gd name="connsiteX9" fmla="*/ 123092 w 193431"/>
                <a:gd name="connsiteY9" fmla="*/ 890953 h 1219200"/>
                <a:gd name="connsiteX10" fmla="*/ 134815 w 193431"/>
                <a:gd name="connsiteY10" fmla="*/ 855784 h 1219200"/>
                <a:gd name="connsiteX11" fmla="*/ 128954 w 193431"/>
                <a:gd name="connsiteY11" fmla="*/ 803030 h 1219200"/>
                <a:gd name="connsiteX12" fmla="*/ 117231 w 193431"/>
                <a:gd name="connsiteY12" fmla="*/ 685800 h 1219200"/>
                <a:gd name="connsiteX13" fmla="*/ 111369 w 193431"/>
                <a:gd name="connsiteY13" fmla="*/ 668215 h 1219200"/>
                <a:gd name="connsiteX14" fmla="*/ 99646 w 193431"/>
                <a:gd name="connsiteY14" fmla="*/ 621323 h 1219200"/>
                <a:gd name="connsiteX15" fmla="*/ 123092 w 193431"/>
                <a:gd name="connsiteY15" fmla="*/ 328246 h 1219200"/>
                <a:gd name="connsiteX16" fmla="*/ 152400 w 193431"/>
                <a:gd name="connsiteY16" fmla="*/ 293077 h 1219200"/>
                <a:gd name="connsiteX17" fmla="*/ 164123 w 193431"/>
                <a:gd name="connsiteY17" fmla="*/ 257907 h 1219200"/>
                <a:gd name="connsiteX18" fmla="*/ 175846 w 193431"/>
                <a:gd name="connsiteY18" fmla="*/ 228600 h 1219200"/>
                <a:gd name="connsiteX19" fmla="*/ 181708 w 193431"/>
                <a:gd name="connsiteY19" fmla="*/ 199292 h 1219200"/>
                <a:gd name="connsiteX20" fmla="*/ 187569 w 193431"/>
                <a:gd name="connsiteY20" fmla="*/ 181707 h 1219200"/>
                <a:gd name="connsiteX21" fmla="*/ 193431 w 193431"/>
                <a:gd name="connsiteY21" fmla="*/ 134815 h 1219200"/>
                <a:gd name="connsiteX22" fmla="*/ 187569 w 193431"/>
                <a:gd name="connsiteY22" fmla="*/ 0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3431" h="1219200">
                  <a:moveTo>
                    <a:pt x="0" y="1219200"/>
                  </a:moveTo>
                  <a:cubicBezTo>
                    <a:pt x="9769" y="1211384"/>
                    <a:pt x="18898" y="1202693"/>
                    <a:pt x="29308" y="1195753"/>
                  </a:cubicBezTo>
                  <a:cubicBezTo>
                    <a:pt x="36578" y="1190906"/>
                    <a:pt x="46575" y="1190209"/>
                    <a:pt x="52754" y="1184030"/>
                  </a:cubicBezTo>
                  <a:cubicBezTo>
                    <a:pt x="57123" y="1179661"/>
                    <a:pt x="54246" y="1170815"/>
                    <a:pt x="58615" y="1166446"/>
                  </a:cubicBezTo>
                  <a:cubicBezTo>
                    <a:pt x="76308" y="1148753"/>
                    <a:pt x="117231" y="1119553"/>
                    <a:pt x="117231" y="1119553"/>
                  </a:cubicBezTo>
                  <a:cubicBezTo>
                    <a:pt x="119185" y="1109784"/>
                    <a:pt x="123092" y="1100208"/>
                    <a:pt x="123092" y="1090246"/>
                  </a:cubicBezTo>
                  <a:cubicBezTo>
                    <a:pt x="123092" y="1072553"/>
                    <a:pt x="119990" y="1054968"/>
                    <a:pt x="117231" y="1037492"/>
                  </a:cubicBezTo>
                  <a:cubicBezTo>
                    <a:pt x="109470" y="988340"/>
                    <a:pt x="110205" y="992966"/>
                    <a:pt x="99646" y="961292"/>
                  </a:cubicBezTo>
                  <a:cubicBezTo>
                    <a:pt x="103554" y="941754"/>
                    <a:pt x="105068" y="921580"/>
                    <a:pt x="111369" y="902677"/>
                  </a:cubicBezTo>
                  <a:cubicBezTo>
                    <a:pt x="113117" y="897434"/>
                    <a:pt x="120621" y="895896"/>
                    <a:pt x="123092" y="890953"/>
                  </a:cubicBezTo>
                  <a:cubicBezTo>
                    <a:pt x="128618" y="879900"/>
                    <a:pt x="134815" y="855784"/>
                    <a:pt x="134815" y="855784"/>
                  </a:cubicBezTo>
                  <a:cubicBezTo>
                    <a:pt x="132861" y="838199"/>
                    <a:pt x="130487" y="820656"/>
                    <a:pt x="128954" y="803030"/>
                  </a:cubicBezTo>
                  <a:cubicBezTo>
                    <a:pt x="124979" y="757317"/>
                    <a:pt x="126415" y="727129"/>
                    <a:pt x="117231" y="685800"/>
                  </a:cubicBezTo>
                  <a:cubicBezTo>
                    <a:pt x="115891" y="679768"/>
                    <a:pt x="112995" y="674176"/>
                    <a:pt x="111369" y="668215"/>
                  </a:cubicBezTo>
                  <a:cubicBezTo>
                    <a:pt x="107130" y="652671"/>
                    <a:pt x="99646" y="621323"/>
                    <a:pt x="99646" y="621323"/>
                  </a:cubicBezTo>
                  <a:cubicBezTo>
                    <a:pt x="107258" y="278801"/>
                    <a:pt x="60067" y="441692"/>
                    <a:pt x="123092" y="328246"/>
                  </a:cubicBezTo>
                  <a:cubicBezTo>
                    <a:pt x="140590" y="296749"/>
                    <a:pt x="125429" y="311057"/>
                    <a:pt x="152400" y="293077"/>
                  </a:cubicBezTo>
                  <a:cubicBezTo>
                    <a:pt x="156308" y="281354"/>
                    <a:pt x="159533" y="269381"/>
                    <a:pt x="164123" y="257907"/>
                  </a:cubicBezTo>
                  <a:cubicBezTo>
                    <a:pt x="168031" y="248138"/>
                    <a:pt x="172823" y="238678"/>
                    <a:pt x="175846" y="228600"/>
                  </a:cubicBezTo>
                  <a:cubicBezTo>
                    <a:pt x="178709" y="219057"/>
                    <a:pt x="179292" y="208957"/>
                    <a:pt x="181708" y="199292"/>
                  </a:cubicBezTo>
                  <a:cubicBezTo>
                    <a:pt x="183207" y="193298"/>
                    <a:pt x="185615" y="187569"/>
                    <a:pt x="187569" y="181707"/>
                  </a:cubicBezTo>
                  <a:cubicBezTo>
                    <a:pt x="189523" y="166076"/>
                    <a:pt x="193431" y="150567"/>
                    <a:pt x="193431" y="134815"/>
                  </a:cubicBezTo>
                  <a:cubicBezTo>
                    <a:pt x="193431" y="89834"/>
                    <a:pt x="187569" y="44981"/>
                    <a:pt x="187569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F730B897-EE7D-44FD-E94F-5E3CE4921C18}"/>
                </a:ext>
              </a:extLst>
            </p:cNvPr>
            <p:cNvSpPr/>
            <p:nvPr/>
          </p:nvSpPr>
          <p:spPr bwMode="gray">
            <a:xfrm>
              <a:off x="5911609" y="4968623"/>
              <a:ext cx="416634" cy="567329"/>
            </a:xfrm>
            <a:custGeom>
              <a:avLst/>
              <a:gdLst>
                <a:gd name="connsiteX0" fmla="*/ 0 w 550985"/>
                <a:gd name="connsiteY0" fmla="*/ 750277 h 750277"/>
                <a:gd name="connsiteX1" fmla="*/ 5862 w 550985"/>
                <a:gd name="connsiteY1" fmla="*/ 697523 h 750277"/>
                <a:gd name="connsiteX2" fmla="*/ 11723 w 550985"/>
                <a:gd name="connsiteY2" fmla="*/ 609600 h 750277"/>
                <a:gd name="connsiteX3" fmla="*/ 17585 w 550985"/>
                <a:gd name="connsiteY3" fmla="*/ 568569 h 750277"/>
                <a:gd name="connsiteX4" fmla="*/ 29308 w 550985"/>
                <a:gd name="connsiteY4" fmla="*/ 545123 h 750277"/>
                <a:gd name="connsiteX5" fmla="*/ 35169 w 550985"/>
                <a:gd name="connsiteY5" fmla="*/ 527538 h 750277"/>
                <a:gd name="connsiteX6" fmla="*/ 46892 w 550985"/>
                <a:gd name="connsiteY6" fmla="*/ 498231 h 750277"/>
                <a:gd name="connsiteX7" fmla="*/ 52754 w 550985"/>
                <a:gd name="connsiteY7" fmla="*/ 427892 h 750277"/>
                <a:gd name="connsiteX8" fmla="*/ 93785 w 550985"/>
                <a:gd name="connsiteY8" fmla="*/ 375138 h 750277"/>
                <a:gd name="connsiteX9" fmla="*/ 105508 w 550985"/>
                <a:gd name="connsiteY9" fmla="*/ 357554 h 750277"/>
                <a:gd name="connsiteX10" fmla="*/ 123092 w 550985"/>
                <a:gd name="connsiteY10" fmla="*/ 345831 h 750277"/>
                <a:gd name="connsiteX11" fmla="*/ 158262 w 550985"/>
                <a:gd name="connsiteY11" fmla="*/ 316523 h 750277"/>
                <a:gd name="connsiteX12" fmla="*/ 216877 w 550985"/>
                <a:gd name="connsiteY12" fmla="*/ 304800 h 750277"/>
                <a:gd name="connsiteX13" fmla="*/ 275492 w 550985"/>
                <a:gd name="connsiteY13" fmla="*/ 293077 h 750277"/>
                <a:gd name="connsiteX14" fmla="*/ 298939 w 550985"/>
                <a:gd name="connsiteY14" fmla="*/ 281354 h 750277"/>
                <a:gd name="connsiteX15" fmla="*/ 316523 w 550985"/>
                <a:gd name="connsiteY15" fmla="*/ 275492 h 750277"/>
                <a:gd name="connsiteX16" fmla="*/ 328246 w 550985"/>
                <a:gd name="connsiteY16" fmla="*/ 234461 h 750277"/>
                <a:gd name="connsiteX17" fmla="*/ 375139 w 550985"/>
                <a:gd name="connsiteY17" fmla="*/ 193431 h 750277"/>
                <a:gd name="connsiteX18" fmla="*/ 410308 w 550985"/>
                <a:gd name="connsiteY18" fmla="*/ 158261 h 750277"/>
                <a:gd name="connsiteX19" fmla="*/ 433754 w 550985"/>
                <a:gd name="connsiteY19" fmla="*/ 134815 h 750277"/>
                <a:gd name="connsiteX20" fmla="*/ 451339 w 550985"/>
                <a:gd name="connsiteY20" fmla="*/ 117231 h 750277"/>
                <a:gd name="connsiteX21" fmla="*/ 492369 w 550985"/>
                <a:gd name="connsiteY21" fmla="*/ 70338 h 750277"/>
                <a:gd name="connsiteX22" fmla="*/ 515816 w 550985"/>
                <a:gd name="connsiteY22" fmla="*/ 41031 h 750277"/>
                <a:gd name="connsiteX23" fmla="*/ 527539 w 550985"/>
                <a:gd name="connsiteY23" fmla="*/ 23446 h 750277"/>
                <a:gd name="connsiteX24" fmla="*/ 533400 w 550985"/>
                <a:gd name="connsiteY24" fmla="*/ 5861 h 750277"/>
                <a:gd name="connsiteX25" fmla="*/ 550985 w 550985"/>
                <a:gd name="connsiteY25" fmla="*/ 0 h 75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50985" h="750277">
                  <a:moveTo>
                    <a:pt x="0" y="750277"/>
                  </a:moveTo>
                  <a:cubicBezTo>
                    <a:pt x="1954" y="732692"/>
                    <a:pt x="4393" y="715155"/>
                    <a:pt x="5862" y="697523"/>
                  </a:cubicBezTo>
                  <a:cubicBezTo>
                    <a:pt x="8301" y="668252"/>
                    <a:pt x="9064" y="638852"/>
                    <a:pt x="11723" y="609600"/>
                  </a:cubicBezTo>
                  <a:cubicBezTo>
                    <a:pt x="12974" y="595841"/>
                    <a:pt x="13950" y="581898"/>
                    <a:pt x="17585" y="568569"/>
                  </a:cubicBezTo>
                  <a:cubicBezTo>
                    <a:pt x="19884" y="560139"/>
                    <a:pt x="25866" y="553154"/>
                    <a:pt x="29308" y="545123"/>
                  </a:cubicBezTo>
                  <a:cubicBezTo>
                    <a:pt x="31742" y="539444"/>
                    <a:pt x="33000" y="533323"/>
                    <a:pt x="35169" y="527538"/>
                  </a:cubicBezTo>
                  <a:cubicBezTo>
                    <a:pt x="38863" y="517686"/>
                    <a:pt x="42984" y="508000"/>
                    <a:pt x="46892" y="498231"/>
                  </a:cubicBezTo>
                  <a:cubicBezTo>
                    <a:pt x="48846" y="474785"/>
                    <a:pt x="47650" y="450859"/>
                    <a:pt x="52754" y="427892"/>
                  </a:cubicBezTo>
                  <a:cubicBezTo>
                    <a:pt x="62278" y="385035"/>
                    <a:pt x="69119" y="399804"/>
                    <a:pt x="93785" y="375138"/>
                  </a:cubicBezTo>
                  <a:cubicBezTo>
                    <a:pt x="98766" y="370157"/>
                    <a:pt x="100527" y="362535"/>
                    <a:pt x="105508" y="357554"/>
                  </a:cubicBezTo>
                  <a:cubicBezTo>
                    <a:pt x="110489" y="352573"/>
                    <a:pt x="117591" y="350232"/>
                    <a:pt x="123092" y="345831"/>
                  </a:cubicBezTo>
                  <a:cubicBezTo>
                    <a:pt x="141007" y="331499"/>
                    <a:pt x="131662" y="329823"/>
                    <a:pt x="158262" y="316523"/>
                  </a:cubicBezTo>
                  <a:cubicBezTo>
                    <a:pt x="167209" y="312049"/>
                    <a:pt x="212161" y="305684"/>
                    <a:pt x="216877" y="304800"/>
                  </a:cubicBezTo>
                  <a:cubicBezTo>
                    <a:pt x="236461" y="301128"/>
                    <a:pt x="275492" y="293077"/>
                    <a:pt x="275492" y="293077"/>
                  </a:cubicBezTo>
                  <a:cubicBezTo>
                    <a:pt x="283308" y="289169"/>
                    <a:pt x="290907" y="284796"/>
                    <a:pt x="298939" y="281354"/>
                  </a:cubicBezTo>
                  <a:cubicBezTo>
                    <a:pt x="304618" y="278920"/>
                    <a:pt x="312154" y="279861"/>
                    <a:pt x="316523" y="275492"/>
                  </a:cubicBezTo>
                  <a:cubicBezTo>
                    <a:pt x="319524" y="272490"/>
                    <a:pt x="327938" y="234924"/>
                    <a:pt x="328246" y="234461"/>
                  </a:cubicBezTo>
                  <a:cubicBezTo>
                    <a:pt x="355220" y="194000"/>
                    <a:pt x="349789" y="215965"/>
                    <a:pt x="375139" y="193431"/>
                  </a:cubicBezTo>
                  <a:cubicBezTo>
                    <a:pt x="387530" y="182416"/>
                    <a:pt x="398585" y="169984"/>
                    <a:pt x="410308" y="158261"/>
                  </a:cubicBezTo>
                  <a:lnTo>
                    <a:pt x="433754" y="134815"/>
                  </a:lnTo>
                  <a:cubicBezTo>
                    <a:pt x="439616" y="128954"/>
                    <a:pt x="446741" y="124128"/>
                    <a:pt x="451339" y="117231"/>
                  </a:cubicBezTo>
                  <a:cubicBezTo>
                    <a:pt x="478693" y="76200"/>
                    <a:pt x="463062" y="89877"/>
                    <a:pt x="492369" y="70338"/>
                  </a:cubicBezTo>
                  <a:cubicBezTo>
                    <a:pt x="528457" y="16207"/>
                    <a:pt x="482401" y="82799"/>
                    <a:pt x="515816" y="41031"/>
                  </a:cubicBezTo>
                  <a:cubicBezTo>
                    <a:pt x="520217" y="35530"/>
                    <a:pt x="523631" y="29308"/>
                    <a:pt x="527539" y="23446"/>
                  </a:cubicBezTo>
                  <a:cubicBezTo>
                    <a:pt x="529493" y="17584"/>
                    <a:pt x="529031" y="10230"/>
                    <a:pt x="533400" y="5861"/>
                  </a:cubicBezTo>
                  <a:cubicBezTo>
                    <a:pt x="537769" y="1492"/>
                    <a:pt x="550985" y="0"/>
                    <a:pt x="550985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DA4553C5-DB8B-C892-DC68-58908DB7EC6F}"/>
                </a:ext>
              </a:extLst>
            </p:cNvPr>
            <p:cNvSpPr/>
            <p:nvPr/>
          </p:nvSpPr>
          <p:spPr bwMode="gray">
            <a:xfrm>
              <a:off x="5548162" y="4308216"/>
              <a:ext cx="296962" cy="593923"/>
            </a:xfrm>
            <a:custGeom>
              <a:avLst/>
              <a:gdLst>
                <a:gd name="connsiteX0" fmla="*/ 0 w 392723"/>
                <a:gd name="connsiteY0" fmla="*/ 0 h 785446"/>
                <a:gd name="connsiteX1" fmla="*/ 5862 w 392723"/>
                <a:gd name="connsiteY1" fmla="*/ 76200 h 785446"/>
                <a:gd name="connsiteX2" fmla="*/ 35169 w 392723"/>
                <a:gd name="connsiteY2" fmla="*/ 105507 h 785446"/>
                <a:gd name="connsiteX3" fmla="*/ 52754 w 392723"/>
                <a:gd name="connsiteY3" fmla="*/ 128953 h 785446"/>
                <a:gd name="connsiteX4" fmla="*/ 64477 w 392723"/>
                <a:gd name="connsiteY4" fmla="*/ 146538 h 785446"/>
                <a:gd name="connsiteX5" fmla="*/ 99646 w 392723"/>
                <a:gd name="connsiteY5" fmla="*/ 169984 h 785446"/>
                <a:gd name="connsiteX6" fmla="*/ 134815 w 392723"/>
                <a:gd name="connsiteY6" fmla="*/ 211015 h 785446"/>
                <a:gd name="connsiteX7" fmla="*/ 152400 w 392723"/>
                <a:gd name="connsiteY7" fmla="*/ 234461 h 785446"/>
                <a:gd name="connsiteX8" fmla="*/ 181708 w 392723"/>
                <a:gd name="connsiteY8" fmla="*/ 252046 h 785446"/>
                <a:gd name="connsiteX9" fmla="*/ 205154 w 392723"/>
                <a:gd name="connsiteY9" fmla="*/ 281353 h 785446"/>
                <a:gd name="connsiteX10" fmla="*/ 216877 w 392723"/>
                <a:gd name="connsiteY10" fmla="*/ 304800 h 785446"/>
                <a:gd name="connsiteX11" fmla="*/ 246185 w 392723"/>
                <a:gd name="connsiteY11" fmla="*/ 334107 h 785446"/>
                <a:gd name="connsiteX12" fmla="*/ 263769 w 392723"/>
                <a:gd name="connsiteY12" fmla="*/ 375138 h 785446"/>
                <a:gd name="connsiteX13" fmla="*/ 287215 w 392723"/>
                <a:gd name="connsiteY13" fmla="*/ 398584 h 785446"/>
                <a:gd name="connsiteX14" fmla="*/ 334108 w 392723"/>
                <a:gd name="connsiteY14" fmla="*/ 457200 h 785446"/>
                <a:gd name="connsiteX15" fmla="*/ 339969 w 392723"/>
                <a:gd name="connsiteY15" fmla="*/ 474784 h 785446"/>
                <a:gd name="connsiteX16" fmla="*/ 351692 w 392723"/>
                <a:gd name="connsiteY16" fmla="*/ 498230 h 785446"/>
                <a:gd name="connsiteX17" fmla="*/ 357554 w 392723"/>
                <a:gd name="connsiteY17" fmla="*/ 521676 h 785446"/>
                <a:gd name="connsiteX18" fmla="*/ 363415 w 392723"/>
                <a:gd name="connsiteY18" fmla="*/ 539261 h 785446"/>
                <a:gd name="connsiteX19" fmla="*/ 363415 w 392723"/>
                <a:gd name="connsiteY19" fmla="*/ 750276 h 785446"/>
                <a:gd name="connsiteX20" fmla="*/ 392723 w 392723"/>
                <a:gd name="connsiteY20" fmla="*/ 785446 h 785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92723" h="785446">
                  <a:moveTo>
                    <a:pt x="0" y="0"/>
                  </a:moveTo>
                  <a:cubicBezTo>
                    <a:pt x="1954" y="25400"/>
                    <a:pt x="1167" y="51161"/>
                    <a:pt x="5862" y="76200"/>
                  </a:cubicBezTo>
                  <a:cubicBezTo>
                    <a:pt x="9469" y="95436"/>
                    <a:pt x="23747" y="94085"/>
                    <a:pt x="35169" y="105507"/>
                  </a:cubicBezTo>
                  <a:cubicBezTo>
                    <a:pt x="42077" y="112415"/>
                    <a:pt x="47076" y="121003"/>
                    <a:pt x="52754" y="128953"/>
                  </a:cubicBezTo>
                  <a:cubicBezTo>
                    <a:pt x="56849" y="134686"/>
                    <a:pt x="59175" y="141899"/>
                    <a:pt x="64477" y="146538"/>
                  </a:cubicBezTo>
                  <a:cubicBezTo>
                    <a:pt x="75080" y="155816"/>
                    <a:pt x="91192" y="158713"/>
                    <a:pt x="99646" y="169984"/>
                  </a:cubicBezTo>
                  <a:cubicBezTo>
                    <a:pt x="151070" y="238548"/>
                    <a:pt x="85830" y="153865"/>
                    <a:pt x="134815" y="211015"/>
                  </a:cubicBezTo>
                  <a:cubicBezTo>
                    <a:pt x="141173" y="218432"/>
                    <a:pt x="145048" y="228028"/>
                    <a:pt x="152400" y="234461"/>
                  </a:cubicBezTo>
                  <a:cubicBezTo>
                    <a:pt x="160974" y="241963"/>
                    <a:pt x="171939" y="246184"/>
                    <a:pt x="181708" y="252046"/>
                  </a:cubicBezTo>
                  <a:cubicBezTo>
                    <a:pt x="189523" y="261815"/>
                    <a:pt x="198214" y="270944"/>
                    <a:pt x="205154" y="281353"/>
                  </a:cubicBezTo>
                  <a:cubicBezTo>
                    <a:pt x="210001" y="288624"/>
                    <a:pt x="211512" y="297903"/>
                    <a:pt x="216877" y="304800"/>
                  </a:cubicBezTo>
                  <a:cubicBezTo>
                    <a:pt x="225359" y="315705"/>
                    <a:pt x="236416" y="324338"/>
                    <a:pt x="246185" y="334107"/>
                  </a:cubicBezTo>
                  <a:cubicBezTo>
                    <a:pt x="252046" y="347784"/>
                    <a:pt x="255780" y="362584"/>
                    <a:pt x="263769" y="375138"/>
                  </a:cubicBezTo>
                  <a:cubicBezTo>
                    <a:pt x="269703" y="384463"/>
                    <a:pt x="280310" y="389953"/>
                    <a:pt x="287215" y="398584"/>
                  </a:cubicBezTo>
                  <a:cubicBezTo>
                    <a:pt x="346375" y="472533"/>
                    <a:pt x="277493" y="400583"/>
                    <a:pt x="334108" y="457200"/>
                  </a:cubicBezTo>
                  <a:cubicBezTo>
                    <a:pt x="336062" y="463061"/>
                    <a:pt x="337535" y="469105"/>
                    <a:pt x="339969" y="474784"/>
                  </a:cubicBezTo>
                  <a:cubicBezTo>
                    <a:pt x="343411" y="482815"/>
                    <a:pt x="348624" y="490049"/>
                    <a:pt x="351692" y="498230"/>
                  </a:cubicBezTo>
                  <a:cubicBezTo>
                    <a:pt x="354521" y="505773"/>
                    <a:pt x="355341" y="513930"/>
                    <a:pt x="357554" y="521676"/>
                  </a:cubicBezTo>
                  <a:cubicBezTo>
                    <a:pt x="359251" y="527617"/>
                    <a:pt x="361461" y="533399"/>
                    <a:pt x="363415" y="539261"/>
                  </a:cubicBezTo>
                  <a:cubicBezTo>
                    <a:pt x="357351" y="618095"/>
                    <a:pt x="350714" y="664547"/>
                    <a:pt x="363415" y="750276"/>
                  </a:cubicBezTo>
                  <a:cubicBezTo>
                    <a:pt x="364627" y="758455"/>
                    <a:pt x="385229" y="777952"/>
                    <a:pt x="392723" y="785446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A9FAEA7B-7695-93D0-8F20-F06B778FB3DB}"/>
                </a:ext>
              </a:extLst>
            </p:cNvPr>
            <p:cNvSpPr/>
            <p:nvPr/>
          </p:nvSpPr>
          <p:spPr bwMode="gray">
            <a:xfrm>
              <a:off x="5951499" y="5349797"/>
              <a:ext cx="1635506" cy="704955"/>
            </a:xfrm>
            <a:custGeom>
              <a:avLst/>
              <a:gdLst>
                <a:gd name="connsiteX0" fmla="*/ 0 w 2162908"/>
                <a:gd name="connsiteY0" fmla="*/ 0 h 932282"/>
                <a:gd name="connsiteX1" fmla="*/ 29308 w 2162908"/>
                <a:gd name="connsiteY1" fmla="*/ 11723 h 932282"/>
                <a:gd name="connsiteX2" fmla="*/ 52754 w 2162908"/>
                <a:gd name="connsiteY2" fmla="*/ 17585 h 932282"/>
                <a:gd name="connsiteX3" fmla="*/ 117231 w 2162908"/>
                <a:gd name="connsiteY3" fmla="*/ 52754 h 932282"/>
                <a:gd name="connsiteX4" fmla="*/ 140677 w 2162908"/>
                <a:gd name="connsiteY4" fmla="*/ 70339 h 932282"/>
                <a:gd name="connsiteX5" fmla="*/ 175846 w 2162908"/>
                <a:gd name="connsiteY5" fmla="*/ 117231 h 932282"/>
                <a:gd name="connsiteX6" fmla="*/ 193431 w 2162908"/>
                <a:gd name="connsiteY6" fmla="*/ 128954 h 932282"/>
                <a:gd name="connsiteX7" fmla="*/ 222738 w 2162908"/>
                <a:gd name="connsiteY7" fmla="*/ 152400 h 932282"/>
                <a:gd name="connsiteX8" fmla="*/ 281354 w 2162908"/>
                <a:gd name="connsiteY8" fmla="*/ 169985 h 932282"/>
                <a:gd name="connsiteX9" fmla="*/ 357554 w 2162908"/>
                <a:gd name="connsiteY9" fmla="*/ 164123 h 932282"/>
                <a:gd name="connsiteX10" fmla="*/ 398585 w 2162908"/>
                <a:gd name="connsiteY10" fmla="*/ 140677 h 932282"/>
                <a:gd name="connsiteX11" fmla="*/ 445477 w 2162908"/>
                <a:gd name="connsiteY11" fmla="*/ 123092 h 932282"/>
                <a:gd name="connsiteX12" fmla="*/ 504092 w 2162908"/>
                <a:gd name="connsiteY12" fmla="*/ 134815 h 932282"/>
                <a:gd name="connsiteX13" fmla="*/ 527538 w 2162908"/>
                <a:gd name="connsiteY13" fmla="*/ 140677 h 932282"/>
                <a:gd name="connsiteX14" fmla="*/ 562708 w 2162908"/>
                <a:gd name="connsiteY14" fmla="*/ 158262 h 932282"/>
                <a:gd name="connsiteX15" fmla="*/ 615462 w 2162908"/>
                <a:gd name="connsiteY15" fmla="*/ 199292 h 932282"/>
                <a:gd name="connsiteX16" fmla="*/ 703385 w 2162908"/>
                <a:gd name="connsiteY16" fmla="*/ 211015 h 932282"/>
                <a:gd name="connsiteX17" fmla="*/ 720969 w 2162908"/>
                <a:gd name="connsiteY17" fmla="*/ 216877 h 932282"/>
                <a:gd name="connsiteX18" fmla="*/ 762000 w 2162908"/>
                <a:gd name="connsiteY18" fmla="*/ 234462 h 932282"/>
                <a:gd name="connsiteX19" fmla="*/ 791308 w 2162908"/>
                <a:gd name="connsiteY19" fmla="*/ 240323 h 932282"/>
                <a:gd name="connsiteX20" fmla="*/ 832338 w 2162908"/>
                <a:gd name="connsiteY20" fmla="*/ 257908 h 932282"/>
                <a:gd name="connsiteX21" fmla="*/ 1090246 w 2162908"/>
                <a:gd name="connsiteY21" fmla="*/ 281354 h 932282"/>
                <a:gd name="connsiteX22" fmla="*/ 1160585 w 2162908"/>
                <a:gd name="connsiteY22" fmla="*/ 298939 h 932282"/>
                <a:gd name="connsiteX23" fmla="*/ 1207477 w 2162908"/>
                <a:gd name="connsiteY23" fmla="*/ 322385 h 932282"/>
                <a:gd name="connsiteX24" fmla="*/ 1254369 w 2162908"/>
                <a:gd name="connsiteY24" fmla="*/ 351692 h 932282"/>
                <a:gd name="connsiteX25" fmla="*/ 1295400 w 2162908"/>
                <a:gd name="connsiteY25" fmla="*/ 369277 h 932282"/>
                <a:gd name="connsiteX26" fmla="*/ 1342292 w 2162908"/>
                <a:gd name="connsiteY26" fmla="*/ 404446 h 932282"/>
                <a:gd name="connsiteX27" fmla="*/ 1371600 w 2162908"/>
                <a:gd name="connsiteY27" fmla="*/ 416169 h 932282"/>
                <a:gd name="connsiteX28" fmla="*/ 1389185 w 2162908"/>
                <a:gd name="connsiteY28" fmla="*/ 427892 h 932282"/>
                <a:gd name="connsiteX29" fmla="*/ 1418492 w 2162908"/>
                <a:gd name="connsiteY29" fmla="*/ 433754 h 932282"/>
                <a:gd name="connsiteX30" fmla="*/ 1447800 w 2162908"/>
                <a:gd name="connsiteY30" fmla="*/ 445477 h 932282"/>
                <a:gd name="connsiteX31" fmla="*/ 1465385 w 2162908"/>
                <a:gd name="connsiteY31" fmla="*/ 451339 h 932282"/>
                <a:gd name="connsiteX32" fmla="*/ 1535723 w 2162908"/>
                <a:gd name="connsiteY32" fmla="*/ 480646 h 932282"/>
                <a:gd name="connsiteX33" fmla="*/ 1570892 w 2162908"/>
                <a:gd name="connsiteY33" fmla="*/ 504092 h 932282"/>
                <a:gd name="connsiteX34" fmla="*/ 1629508 w 2162908"/>
                <a:gd name="connsiteY34" fmla="*/ 521677 h 932282"/>
                <a:gd name="connsiteX35" fmla="*/ 1652954 w 2162908"/>
                <a:gd name="connsiteY35" fmla="*/ 527539 h 932282"/>
                <a:gd name="connsiteX36" fmla="*/ 1682262 w 2162908"/>
                <a:gd name="connsiteY36" fmla="*/ 539262 h 932282"/>
                <a:gd name="connsiteX37" fmla="*/ 1711569 w 2162908"/>
                <a:gd name="connsiteY37" fmla="*/ 568569 h 932282"/>
                <a:gd name="connsiteX38" fmla="*/ 1740877 w 2162908"/>
                <a:gd name="connsiteY38" fmla="*/ 603739 h 932282"/>
                <a:gd name="connsiteX39" fmla="*/ 1776046 w 2162908"/>
                <a:gd name="connsiteY39" fmla="*/ 627185 h 932282"/>
                <a:gd name="connsiteX40" fmla="*/ 1787769 w 2162908"/>
                <a:gd name="connsiteY40" fmla="*/ 650631 h 932282"/>
                <a:gd name="connsiteX41" fmla="*/ 1822938 w 2162908"/>
                <a:gd name="connsiteY41" fmla="*/ 703385 h 932282"/>
                <a:gd name="connsiteX42" fmla="*/ 1834662 w 2162908"/>
                <a:gd name="connsiteY42" fmla="*/ 726831 h 932282"/>
                <a:gd name="connsiteX43" fmla="*/ 1887415 w 2162908"/>
                <a:gd name="connsiteY43" fmla="*/ 756139 h 932282"/>
                <a:gd name="connsiteX44" fmla="*/ 1940169 w 2162908"/>
                <a:gd name="connsiteY44" fmla="*/ 808892 h 932282"/>
                <a:gd name="connsiteX45" fmla="*/ 1963615 w 2162908"/>
                <a:gd name="connsiteY45" fmla="*/ 826477 h 932282"/>
                <a:gd name="connsiteX46" fmla="*/ 2010508 w 2162908"/>
                <a:gd name="connsiteY46" fmla="*/ 867508 h 932282"/>
                <a:gd name="connsiteX47" fmla="*/ 2033954 w 2162908"/>
                <a:gd name="connsiteY47" fmla="*/ 873369 h 932282"/>
                <a:gd name="connsiteX48" fmla="*/ 2063262 w 2162908"/>
                <a:gd name="connsiteY48" fmla="*/ 890954 h 932282"/>
                <a:gd name="connsiteX49" fmla="*/ 2080846 w 2162908"/>
                <a:gd name="connsiteY49" fmla="*/ 908539 h 932282"/>
                <a:gd name="connsiteX50" fmla="*/ 2110154 w 2162908"/>
                <a:gd name="connsiteY50" fmla="*/ 914400 h 932282"/>
                <a:gd name="connsiteX51" fmla="*/ 2127738 w 2162908"/>
                <a:gd name="connsiteY51" fmla="*/ 920262 h 932282"/>
                <a:gd name="connsiteX52" fmla="*/ 2162908 w 2162908"/>
                <a:gd name="connsiteY52" fmla="*/ 931985 h 93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162908" h="932282">
                  <a:moveTo>
                    <a:pt x="0" y="0"/>
                  </a:moveTo>
                  <a:cubicBezTo>
                    <a:pt x="9769" y="3908"/>
                    <a:pt x="19326" y="8396"/>
                    <a:pt x="29308" y="11723"/>
                  </a:cubicBezTo>
                  <a:cubicBezTo>
                    <a:pt x="36950" y="14271"/>
                    <a:pt x="45318" y="14487"/>
                    <a:pt x="52754" y="17585"/>
                  </a:cubicBezTo>
                  <a:cubicBezTo>
                    <a:pt x="78297" y="28228"/>
                    <a:pt x="96252" y="37769"/>
                    <a:pt x="117231" y="52754"/>
                  </a:cubicBezTo>
                  <a:cubicBezTo>
                    <a:pt x="125181" y="58432"/>
                    <a:pt x="133325" y="63906"/>
                    <a:pt x="140677" y="70339"/>
                  </a:cubicBezTo>
                  <a:cubicBezTo>
                    <a:pt x="210805" y="131702"/>
                    <a:pt x="127159" y="58808"/>
                    <a:pt x="175846" y="117231"/>
                  </a:cubicBezTo>
                  <a:cubicBezTo>
                    <a:pt x="180356" y="122643"/>
                    <a:pt x="187795" y="124727"/>
                    <a:pt x="193431" y="128954"/>
                  </a:cubicBezTo>
                  <a:cubicBezTo>
                    <a:pt x="203439" y="136460"/>
                    <a:pt x="212010" y="145963"/>
                    <a:pt x="222738" y="152400"/>
                  </a:cubicBezTo>
                  <a:cubicBezTo>
                    <a:pt x="242016" y="163967"/>
                    <a:pt x="259985" y="165711"/>
                    <a:pt x="281354" y="169985"/>
                  </a:cubicBezTo>
                  <a:cubicBezTo>
                    <a:pt x="306754" y="168031"/>
                    <a:pt x="332467" y="168550"/>
                    <a:pt x="357554" y="164123"/>
                  </a:cubicBezTo>
                  <a:cubicBezTo>
                    <a:pt x="373434" y="161321"/>
                    <a:pt x="384910" y="147515"/>
                    <a:pt x="398585" y="140677"/>
                  </a:cubicBezTo>
                  <a:cubicBezTo>
                    <a:pt x="412602" y="133669"/>
                    <a:pt x="430259" y="128165"/>
                    <a:pt x="445477" y="123092"/>
                  </a:cubicBezTo>
                  <a:lnTo>
                    <a:pt x="504092" y="134815"/>
                  </a:lnTo>
                  <a:cubicBezTo>
                    <a:pt x="511969" y="136503"/>
                    <a:pt x="520058" y="137685"/>
                    <a:pt x="527538" y="140677"/>
                  </a:cubicBezTo>
                  <a:cubicBezTo>
                    <a:pt x="539708" y="145545"/>
                    <a:pt x="551802" y="150992"/>
                    <a:pt x="562708" y="158262"/>
                  </a:cubicBezTo>
                  <a:cubicBezTo>
                    <a:pt x="581244" y="170619"/>
                    <a:pt x="594328" y="192247"/>
                    <a:pt x="615462" y="199292"/>
                  </a:cubicBezTo>
                  <a:cubicBezTo>
                    <a:pt x="655366" y="212595"/>
                    <a:pt x="626889" y="204641"/>
                    <a:pt x="703385" y="211015"/>
                  </a:cubicBezTo>
                  <a:cubicBezTo>
                    <a:pt x="709246" y="212969"/>
                    <a:pt x="715232" y="214582"/>
                    <a:pt x="720969" y="216877"/>
                  </a:cubicBezTo>
                  <a:cubicBezTo>
                    <a:pt x="734785" y="222404"/>
                    <a:pt x="747883" y="229757"/>
                    <a:pt x="762000" y="234462"/>
                  </a:cubicBezTo>
                  <a:cubicBezTo>
                    <a:pt x="771452" y="237612"/>
                    <a:pt x="781539" y="238369"/>
                    <a:pt x="791308" y="240323"/>
                  </a:cubicBezTo>
                  <a:cubicBezTo>
                    <a:pt x="804985" y="246185"/>
                    <a:pt x="818149" y="253427"/>
                    <a:pt x="832338" y="257908"/>
                  </a:cubicBezTo>
                  <a:cubicBezTo>
                    <a:pt x="933064" y="289716"/>
                    <a:pt x="956945" y="277188"/>
                    <a:pt x="1090246" y="281354"/>
                  </a:cubicBezTo>
                  <a:cubicBezTo>
                    <a:pt x="1113692" y="287216"/>
                    <a:pt x="1138969" y="288131"/>
                    <a:pt x="1160585" y="298939"/>
                  </a:cubicBezTo>
                  <a:cubicBezTo>
                    <a:pt x="1176216" y="306754"/>
                    <a:pt x="1192658" y="313123"/>
                    <a:pt x="1207477" y="322385"/>
                  </a:cubicBezTo>
                  <a:cubicBezTo>
                    <a:pt x="1223108" y="332154"/>
                    <a:pt x="1238187" y="342866"/>
                    <a:pt x="1254369" y="351692"/>
                  </a:cubicBezTo>
                  <a:cubicBezTo>
                    <a:pt x="1297348" y="375135"/>
                    <a:pt x="1242239" y="333836"/>
                    <a:pt x="1295400" y="369277"/>
                  </a:cubicBezTo>
                  <a:cubicBezTo>
                    <a:pt x="1311657" y="380115"/>
                    <a:pt x="1324151" y="397190"/>
                    <a:pt x="1342292" y="404446"/>
                  </a:cubicBezTo>
                  <a:cubicBezTo>
                    <a:pt x="1352061" y="408354"/>
                    <a:pt x="1362189" y="411464"/>
                    <a:pt x="1371600" y="416169"/>
                  </a:cubicBezTo>
                  <a:cubicBezTo>
                    <a:pt x="1377901" y="419319"/>
                    <a:pt x="1382589" y="425418"/>
                    <a:pt x="1389185" y="427892"/>
                  </a:cubicBezTo>
                  <a:cubicBezTo>
                    <a:pt x="1398513" y="431390"/>
                    <a:pt x="1408950" y="430891"/>
                    <a:pt x="1418492" y="433754"/>
                  </a:cubicBezTo>
                  <a:cubicBezTo>
                    <a:pt x="1428570" y="436778"/>
                    <a:pt x="1437948" y="441783"/>
                    <a:pt x="1447800" y="445477"/>
                  </a:cubicBezTo>
                  <a:cubicBezTo>
                    <a:pt x="1453585" y="447647"/>
                    <a:pt x="1459760" y="448782"/>
                    <a:pt x="1465385" y="451339"/>
                  </a:cubicBezTo>
                  <a:cubicBezTo>
                    <a:pt x="1531501" y="481392"/>
                    <a:pt x="1489783" y="469162"/>
                    <a:pt x="1535723" y="480646"/>
                  </a:cubicBezTo>
                  <a:cubicBezTo>
                    <a:pt x="1547446" y="488461"/>
                    <a:pt x="1557397" y="500043"/>
                    <a:pt x="1570892" y="504092"/>
                  </a:cubicBezTo>
                  <a:lnTo>
                    <a:pt x="1629508" y="521677"/>
                  </a:lnTo>
                  <a:cubicBezTo>
                    <a:pt x="1637254" y="523890"/>
                    <a:pt x="1645312" y="524991"/>
                    <a:pt x="1652954" y="527539"/>
                  </a:cubicBezTo>
                  <a:cubicBezTo>
                    <a:pt x="1662936" y="530866"/>
                    <a:pt x="1672493" y="535354"/>
                    <a:pt x="1682262" y="539262"/>
                  </a:cubicBezTo>
                  <a:cubicBezTo>
                    <a:pt x="1692031" y="549031"/>
                    <a:pt x="1702472" y="558172"/>
                    <a:pt x="1711569" y="568569"/>
                  </a:cubicBezTo>
                  <a:cubicBezTo>
                    <a:pt x="1732184" y="592130"/>
                    <a:pt x="1713257" y="582257"/>
                    <a:pt x="1740877" y="603739"/>
                  </a:cubicBezTo>
                  <a:cubicBezTo>
                    <a:pt x="1751998" y="612389"/>
                    <a:pt x="1776046" y="627185"/>
                    <a:pt x="1776046" y="627185"/>
                  </a:cubicBezTo>
                  <a:cubicBezTo>
                    <a:pt x="1779954" y="635000"/>
                    <a:pt x="1783138" y="643221"/>
                    <a:pt x="1787769" y="650631"/>
                  </a:cubicBezTo>
                  <a:cubicBezTo>
                    <a:pt x="1831834" y="721134"/>
                    <a:pt x="1777419" y="621452"/>
                    <a:pt x="1822938" y="703385"/>
                  </a:cubicBezTo>
                  <a:cubicBezTo>
                    <a:pt x="1827182" y="711023"/>
                    <a:pt x="1827899" y="721298"/>
                    <a:pt x="1834662" y="726831"/>
                  </a:cubicBezTo>
                  <a:cubicBezTo>
                    <a:pt x="1850231" y="739569"/>
                    <a:pt x="1871536" y="743789"/>
                    <a:pt x="1887415" y="756139"/>
                  </a:cubicBezTo>
                  <a:cubicBezTo>
                    <a:pt x="1907045" y="771407"/>
                    <a:pt x="1920275" y="793971"/>
                    <a:pt x="1940169" y="808892"/>
                  </a:cubicBezTo>
                  <a:cubicBezTo>
                    <a:pt x="1947984" y="814754"/>
                    <a:pt x="1956263" y="820044"/>
                    <a:pt x="1963615" y="826477"/>
                  </a:cubicBezTo>
                  <a:cubicBezTo>
                    <a:pt x="1979730" y="840577"/>
                    <a:pt x="1990807" y="857657"/>
                    <a:pt x="2010508" y="867508"/>
                  </a:cubicBezTo>
                  <a:cubicBezTo>
                    <a:pt x="2017713" y="871111"/>
                    <a:pt x="2026139" y="871415"/>
                    <a:pt x="2033954" y="873369"/>
                  </a:cubicBezTo>
                  <a:cubicBezTo>
                    <a:pt x="2043723" y="879231"/>
                    <a:pt x="2054148" y="884118"/>
                    <a:pt x="2063262" y="890954"/>
                  </a:cubicBezTo>
                  <a:cubicBezTo>
                    <a:pt x="2069893" y="895928"/>
                    <a:pt x="2073432" y="904832"/>
                    <a:pt x="2080846" y="908539"/>
                  </a:cubicBezTo>
                  <a:cubicBezTo>
                    <a:pt x="2089757" y="912994"/>
                    <a:pt x="2100489" y="911984"/>
                    <a:pt x="2110154" y="914400"/>
                  </a:cubicBezTo>
                  <a:cubicBezTo>
                    <a:pt x="2116148" y="915898"/>
                    <a:pt x="2122212" y="917499"/>
                    <a:pt x="2127738" y="920262"/>
                  </a:cubicBezTo>
                  <a:cubicBezTo>
                    <a:pt x="2157686" y="935236"/>
                    <a:pt x="2132050" y="931985"/>
                    <a:pt x="2162908" y="93198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C1B1FF7D-A4D5-A0A5-EF6E-3D342B4AAA59}"/>
                </a:ext>
              </a:extLst>
            </p:cNvPr>
            <p:cNvSpPr/>
            <p:nvPr/>
          </p:nvSpPr>
          <p:spPr bwMode="gray">
            <a:xfrm>
              <a:off x="6864545" y="6174197"/>
              <a:ext cx="709439" cy="327987"/>
            </a:xfrm>
            <a:custGeom>
              <a:avLst/>
              <a:gdLst>
                <a:gd name="connsiteX0" fmla="*/ 0 w 938212"/>
                <a:gd name="connsiteY0" fmla="*/ 0 h 433754"/>
                <a:gd name="connsiteX1" fmla="*/ 52754 w 938212"/>
                <a:gd name="connsiteY1" fmla="*/ 11723 h 433754"/>
                <a:gd name="connsiteX2" fmla="*/ 175846 w 938212"/>
                <a:gd name="connsiteY2" fmla="*/ 29308 h 433754"/>
                <a:gd name="connsiteX3" fmla="*/ 199292 w 938212"/>
                <a:gd name="connsiteY3" fmla="*/ 105508 h 433754"/>
                <a:gd name="connsiteX4" fmla="*/ 257908 w 938212"/>
                <a:gd name="connsiteY4" fmla="*/ 175846 h 433754"/>
                <a:gd name="connsiteX5" fmla="*/ 310661 w 938212"/>
                <a:gd name="connsiteY5" fmla="*/ 240323 h 433754"/>
                <a:gd name="connsiteX6" fmla="*/ 363415 w 938212"/>
                <a:gd name="connsiteY6" fmla="*/ 293077 h 433754"/>
                <a:gd name="connsiteX7" fmla="*/ 375138 w 938212"/>
                <a:gd name="connsiteY7" fmla="*/ 316523 h 433754"/>
                <a:gd name="connsiteX8" fmla="*/ 386861 w 938212"/>
                <a:gd name="connsiteY8" fmla="*/ 357554 h 433754"/>
                <a:gd name="connsiteX9" fmla="*/ 398585 w 938212"/>
                <a:gd name="connsiteY9" fmla="*/ 375139 h 433754"/>
                <a:gd name="connsiteX10" fmla="*/ 416169 w 938212"/>
                <a:gd name="connsiteY10" fmla="*/ 404446 h 433754"/>
                <a:gd name="connsiteX11" fmla="*/ 468923 w 938212"/>
                <a:gd name="connsiteY11" fmla="*/ 433754 h 433754"/>
                <a:gd name="connsiteX12" fmla="*/ 527538 w 938212"/>
                <a:gd name="connsiteY12" fmla="*/ 386862 h 433754"/>
                <a:gd name="connsiteX13" fmla="*/ 580292 w 938212"/>
                <a:gd name="connsiteY13" fmla="*/ 334108 h 433754"/>
                <a:gd name="connsiteX14" fmla="*/ 603738 w 938212"/>
                <a:gd name="connsiteY14" fmla="*/ 316523 h 433754"/>
                <a:gd name="connsiteX15" fmla="*/ 633046 w 938212"/>
                <a:gd name="connsiteY15" fmla="*/ 310662 h 433754"/>
                <a:gd name="connsiteX16" fmla="*/ 650631 w 938212"/>
                <a:gd name="connsiteY16" fmla="*/ 298939 h 433754"/>
                <a:gd name="connsiteX17" fmla="*/ 697523 w 938212"/>
                <a:gd name="connsiteY17" fmla="*/ 281354 h 433754"/>
                <a:gd name="connsiteX18" fmla="*/ 703385 w 938212"/>
                <a:gd name="connsiteY18" fmla="*/ 263769 h 433754"/>
                <a:gd name="connsiteX19" fmla="*/ 709246 w 938212"/>
                <a:gd name="connsiteY19" fmla="*/ 234462 h 433754"/>
                <a:gd name="connsiteX20" fmla="*/ 744415 w 938212"/>
                <a:gd name="connsiteY20" fmla="*/ 211016 h 433754"/>
                <a:gd name="connsiteX21" fmla="*/ 797169 w 938212"/>
                <a:gd name="connsiteY21" fmla="*/ 187569 h 433754"/>
                <a:gd name="connsiteX22" fmla="*/ 820615 w 938212"/>
                <a:gd name="connsiteY22" fmla="*/ 175846 h 433754"/>
                <a:gd name="connsiteX23" fmla="*/ 879231 w 938212"/>
                <a:gd name="connsiteY23" fmla="*/ 158262 h 433754"/>
                <a:gd name="connsiteX24" fmla="*/ 914400 w 938212"/>
                <a:gd name="connsiteY24" fmla="*/ 134816 h 433754"/>
                <a:gd name="connsiteX25" fmla="*/ 937846 w 938212"/>
                <a:gd name="connsiteY25" fmla="*/ 123093 h 433754"/>
                <a:gd name="connsiteX26" fmla="*/ 926123 w 938212"/>
                <a:gd name="connsiteY26" fmla="*/ 117231 h 43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8212" h="433754">
                  <a:moveTo>
                    <a:pt x="0" y="0"/>
                  </a:moveTo>
                  <a:cubicBezTo>
                    <a:pt x="17585" y="3908"/>
                    <a:pt x="34879" y="9489"/>
                    <a:pt x="52754" y="11723"/>
                  </a:cubicBezTo>
                  <a:cubicBezTo>
                    <a:pt x="181077" y="27764"/>
                    <a:pt x="101003" y="4360"/>
                    <a:pt x="175846" y="29308"/>
                  </a:cubicBezTo>
                  <a:cubicBezTo>
                    <a:pt x="229899" y="83361"/>
                    <a:pt x="139113" y="-14848"/>
                    <a:pt x="199292" y="105508"/>
                  </a:cubicBezTo>
                  <a:cubicBezTo>
                    <a:pt x="212941" y="132806"/>
                    <a:pt x="238662" y="152159"/>
                    <a:pt x="257908" y="175846"/>
                  </a:cubicBezTo>
                  <a:cubicBezTo>
                    <a:pt x="290336" y="215758"/>
                    <a:pt x="261691" y="188088"/>
                    <a:pt x="310661" y="240323"/>
                  </a:cubicBezTo>
                  <a:cubicBezTo>
                    <a:pt x="327670" y="258465"/>
                    <a:pt x="352293" y="270834"/>
                    <a:pt x="363415" y="293077"/>
                  </a:cubicBezTo>
                  <a:cubicBezTo>
                    <a:pt x="367323" y="300892"/>
                    <a:pt x="372070" y="308342"/>
                    <a:pt x="375138" y="316523"/>
                  </a:cubicBezTo>
                  <a:cubicBezTo>
                    <a:pt x="380767" y="331533"/>
                    <a:pt x="379781" y="343394"/>
                    <a:pt x="386861" y="357554"/>
                  </a:cubicBezTo>
                  <a:cubicBezTo>
                    <a:pt x="390012" y="363855"/>
                    <a:pt x="394851" y="369165"/>
                    <a:pt x="398585" y="375139"/>
                  </a:cubicBezTo>
                  <a:cubicBezTo>
                    <a:pt x="404623" y="384800"/>
                    <a:pt x="408113" y="396390"/>
                    <a:pt x="416169" y="404446"/>
                  </a:cubicBezTo>
                  <a:cubicBezTo>
                    <a:pt x="436326" y="424604"/>
                    <a:pt x="446809" y="426383"/>
                    <a:pt x="468923" y="433754"/>
                  </a:cubicBezTo>
                  <a:cubicBezTo>
                    <a:pt x="496115" y="415626"/>
                    <a:pt x="494918" y="417444"/>
                    <a:pt x="527538" y="386862"/>
                  </a:cubicBezTo>
                  <a:cubicBezTo>
                    <a:pt x="545680" y="369853"/>
                    <a:pt x="560397" y="349029"/>
                    <a:pt x="580292" y="334108"/>
                  </a:cubicBezTo>
                  <a:cubicBezTo>
                    <a:pt x="588107" y="328246"/>
                    <a:pt x="594811" y="320491"/>
                    <a:pt x="603738" y="316523"/>
                  </a:cubicBezTo>
                  <a:cubicBezTo>
                    <a:pt x="612842" y="312477"/>
                    <a:pt x="623277" y="312616"/>
                    <a:pt x="633046" y="310662"/>
                  </a:cubicBezTo>
                  <a:cubicBezTo>
                    <a:pt x="638908" y="306754"/>
                    <a:pt x="644218" y="301854"/>
                    <a:pt x="650631" y="298939"/>
                  </a:cubicBezTo>
                  <a:cubicBezTo>
                    <a:pt x="665828" y="292031"/>
                    <a:pt x="683633" y="290614"/>
                    <a:pt x="697523" y="281354"/>
                  </a:cubicBezTo>
                  <a:cubicBezTo>
                    <a:pt x="702664" y="277927"/>
                    <a:pt x="701886" y="269763"/>
                    <a:pt x="703385" y="263769"/>
                  </a:cubicBezTo>
                  <a:cubicBezTo>
                    <a:pt x="705801" y="254104"/>
                    <a:pt x="703130" y="242326"/>
                    <a:pt x="709246" y="234462"/>
                  </a:cubicBezTo>
                  <a:cubicBezTo>
                    <a:pt x="717896" y="223341"/>
                    <a:pt x="732873" y="219096"/>
                    <a:pt x="744415" y="211016"/>
                  </a:cubicBezTo>
                  <a:cubicBezTo>
                    <a:pt x="778974" y="186825"/>
                    <a:pt x="755077" y="195988"/>
                    <a:pt x="797169" y="187569"/>
                  </a:cubicBezTo>
                  <a:cubicBezTo>
                    <a:pt x="804984" y="183661"/>
                    <a:pt x="812502" y="179091"/>
                    <a:pt x="820615" y="175846"/>
                  </a:cubicBezTo>
                  <a:cubicBezTo>
                    <a:pt x="844401" y="166332"/>
                    <a:pt x="856200" y="164019"/>
                    <a:pt x="879231" y="158262"/>
                  </a:cubicBezTo>
                  <a:cubicBezTo>
                    <a:pt x="890954" y="150447"/>
                    <a:pt x="901798" y="141117"/>
                    <a:pt x="914400" y="134816"/>
                  </a:cubicBezTo>
                  <a:cubicBezTo>
                    <a:pt x="922215" y="130908"/>
                    <a:pt x="932999" y="130363"/>
                    <a:pt x="937846" y="123093"/>
                  </a:cubicBezTo>
                  <a:cubicBezTo>
                    <a:pt x="940269" y="119458"/>
                    <a:pt x="930031" y="119185"/>
                    <a:pt x="926123" y="117231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45401CD8-0560-3EB2-714B-CDBB393655D9}"/>
                </a:ext>
              </a:extLst>
            </p:cNvPr>
            <p:cNvSpPr/>
            <p:nvPr/>
          </p:nvSpPr>
          <p:spPr bwMode="gray">
            <a:xfrm>
              <a:off x="6496668" y="4950893"/>
              <a:ext cx="819970" cy="895317"/>
            </a:xfrm>
            <a:custGeom>
              <a:avLst/>
              <a:gdLst>
                <a:gd name="connsiteX0" fmla="*/ 0 w 1084385"/>
                <a:gd name="connsiteY0" fmla="*/ 0 h 1184030"/>
                <a:gd name="connsiteX1" fmla="*/ 23446 w 1084385"/>
                <a:gd name="connsiteY1" fmla="*/ 76200 h 1184030"/>
                <a:gd name="connsiteX2" fmla="*/ 35169 w 1084385"/>
                <a:gd name="connsiteY2" fmla="*/ 93784 h 1184030"/>
                <a:gd name="connsiteX3" fmla="*/ 58616 w 1084385"/>
                <a:gd name="connsiteY3" fmla="*/ 134815 h 1184030"/>
                <a:gd name="connsiteX4" fmla="*/ 82062 w 1084385"/>
                <a:gd name="connsiteY4" fmla="*/ 146538 h 1184030"/>
                <a:gd name="connsiteX5" fmla="*/ 93785 w 1084385"/>
                <a:gd name="connsiteY5" fmla="*/ 164123 h 1184030"/>
                <a:gd name="connsiteX6" fmla="*/ 105508 w 1084385"/>
                <a:gd name="connsiteY6" fmla="*/ 252046 h 1184030"/>
                <a:gd name="connsiteX7" fmla="*/ 123093 w 1084385"/>
                <a:gd name="connsiteY7" fmla="*/ 281353 h 1184030"/>
                <a:gd name="connsiteX8" fmla="*/ 134816 w 1084385"/>
                <a:gd name="connsiteY8" fmla="*/ 304800 h 1184030"/>
                <a:gd name="connsiteX9" fmla="*/ 169985 w 1084385"/>
                <a:gd name="connsiteY9" fmla="*/ 345830 h 1184030"/>
                <a:gd name="connsiteX10" fmla="*/ 199293 w 1084385"/>
                <a:gd name="connsiteY10" fmla="*/ 416169 h 1184030"/>
                <a:gd name="connsiteX11" fmla="*/ 211016 w 1084385"/>
                <a:gd name="connsiteY11" fmla="*/ 439615 h 1184030"/>
                <a:gd name="connsiteX12" fmla="*/ 275493 w 1084385"/>
                <a:gd name="connsiteY12" fmla="*/ 468923 h 1184030"/>
                <a:gd name="connsiteX13" fmla="*/ 293077 w 1084385"/>
                <a:gd name="connsiteY13" fmla="*/ 474784 h 1184030"/>
                <a:gd name="connsiteX14" fmla="*/ 404446 w 1084385"/>
                <a:gd name="connsiteY14" fmla="*/ 498230 h 1184030"/>
                <a:gd name="connsiteX15" fmla="*/ 439616 w 1084385"/>
                <a:gd name="connsiteY15" fmla="*/ 515815 h 1184030"/>
                <a:gd name="connsiteX16" fmla="*/ 468923 w 1084385"/>
                <a:gd name="connsiteY16" fmla="*/ 527538 h 1184030"/>
                <a:gd name="connsiteX17" fmla="*/ 504093 w 1084385"/>
                <a:gd name="connsiteY17" fmla="*/ 533400 h 1184030"/>
                <a:gd name="connsiteX18" fmla="*/ 533400 w 1084385"/>
                <a:gd name="connsiteY18" fmla="*/ 539261 h 1184030"/>
                <a:gd name="connsiteX19" fmla="*/ 550985 w 1084385"/>
                <a:gd name="connsiteY19" fmla="*/ 550984 h 1184030"/>
                <a:gd name="connsiteX20" fmla="*/ 568569 w 1084385"/>
                <a:gd name="connsiteY20" fmla="*/ 556846 h 1184030"/>
                <a:gd name="connsiteX21" fmla="*/ 586154 w 1084385"/>
                <a:gd name="connsiteY21" fmla="*/ 574430 h 1184030"/>
                <a:gd name="connsiteX22" fmla="*/ 662354 w 1084385"/>
                <a:gd name="connsiteY22" fmla="*/ 621323 h 1184030"/>
                <a:gd name="connsiteX23" fmla="*/ 709246 w 1084385"/>
                <a:gd name="connsiteY23" fmla="*/ 644769 h 1184030"/>
                <a:gd name="connsiteX24" fmla="*/ 726831 w 1084385"/>
                <a:gd name="connsiteY24" fmla="*/ 685800 h 1184030"/>
                <a:gd name="connsiteX25" fmla="*/ 779585 w 1084385"/>
                <a:gd name="connsiteY25" fmla="*/ 709246 h 1184030"/>
                <a:gd name="connsiteX26" fmla="*/ 838200 w 1084385"/>
                <a:gd name="connsiteY26" fmla="*/ 720969 h 1184030"/>
                <a:gd name="connsiteX27" fmla="*/ 890954 w 1084385"/>
                <a:gd name="connsiteY27" fmla="*/ 744415 h 1184030"/>
                <a:gd name="connsiteX28" fmla="*/ 908539 w 1084385"/>
                <a:gd name="connsiteY28" fmla="*/ 756138 h 1184030"/>
                <a:gd name="connsiteX29" fmla="*/ 931985 w 1084385"/>
                <a:gd name="connsiteY29" fmla="*/ 762000 h 1184030"/>
                <a:gd name="connsiteX30" fmla="*/ 1002323 w 1084385"/>
                <a:gd name="connsiteY30" fmla="*/ 814753 h 1184030"/>
                <a:gd name="connsiteX31" fmla="*/ 1019908 w 1084385"/>
                <a:gd name="connsiteY31" fmla="*/ 838200 h 1184030"/>
                <a:gd name="connsiteX32" fmla="*/ 1025769 w 1084385"/>
                <a:gd name="connsiteY32" fmla="*/ 861646 h 1184030"/>
                <a:gd name="connsiteX33" fmla="*/ 1031631 w 1084385"/>
                <a:gd name="connsiteY33" fmla="*/ 879230 h 1184030"/>
                <a:gd name="connsiteX34" fmla="*/ 1037493 w 1084385"/>
                <a:gd name="connsiteY34" fmla="*/ 908538 h 1184030"/>
                <a:gd name="connsiteX35" fmla="*/ 1084385 w 1084385"/>
                <a:gd name="connsiteY35" fmla="*/ 926123 h 1184030"/>
                <a:gd name="connsiteX36" fmla="*/ 1072662 w 1084385"/>
                <a:gd name="connsiteY36" fmla="*/ 1137138 h 1184030"/>
                <a:gd name="connsiteX37" fmla="*/ 1060939 w 1084385"/>
                <a:gd name="connsiteY37" fmla="*/ 1178169 h 1184030"/>
                <a:gd name="connsiteX38" fmla="*/ 1055077 w 1084385"/>
                <a:gd name="connsiteY38" fmla="*/ 1184030 h 11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84385" h="1184030">
                  <a:moveTo>
                    <a:pt x="0" y="0"/>
                  </a:moveTo>
                  <a:cubicBezTo>
                    <a:pt x="7815" y="25400"/>
                    <a:pt x="14115" y="51317"/>
                    <a:pt x="23446" y="76200"/>
                  </a:cubicBezTo>
                  <a:cubicBezTo>
                    <a:pt x="25919" y="82796"/>
                    <a:pt x="32019" y="87483"/>
                    <a:pt x="35169" y="93784"/>
                  </a:cubicBezTo>
                  <a:cubicBezTo>
                    <a:pt x="46341" y="116128"/>
                    <a:pt x="33812" y="113555"/>
                    <a:pt x="58616" y="134815"/>
                  </a:cubicBezTo>
                  <a:cubicBezTo>
                    <a:pt x="65250" y="140501"/>
                    <a:pt x="74247" y="142630"/>
                    <a:pt x="82062" y="146538"/>
                  </a:cubicBezTo>
                  <a:cubicBezTo>
                    <a:pt x="85970" y="152400"/>
                    <a:pt x="91010" y="157648"/>
                    <a:pt x="93785" y="164123"/>
                  </a:cubicBezTo>
                  <a:cubicBezTo>
                    <a:pt x="104116" y="188230"/>
                    <a:pt x="100962" y="233863"/>
                    <a:pt x="105508" y="252046"/>
                  </a:cubicBezTo>
                  <a:cubicBezTo>
                    <a:pt x="108271" y="263098"/>
                    <a:pt x="117560" y="271394"/>
                    <a:pt x="123093" y="281353"/>
                  </a:cubicBezTo>
                  <a:cubicBezTo>
                    <a:pt x="127337" y="288991"/>
                    <a:pt x="130185" y="297390"/>
                    <a:pt x="134816" y="304800"/>
                  </a:cubicBezTo>
                  <a:cubicBezTo>
                    <a:pt x="147349" y="324854"/>
                    <a:pt x="153998" y="329844"/>
                    <a:pt x="169985" y="345830"/>
                  </a:cubicBezTo>
                  <a:cubicBezTo>
                    <a:pt x="180084" y="386232"/>
                    <a:pt x="172243" y="362070"/>
                    <a:pt x="199293" y="416169"/>
                  </a:cubicBezTo>
                  <a:cubicBezTo>
                    <a:pt x="203201" y="423984"/>
                    <a:pt x="203201" y="435707"/>
                    <a:pt x="211016" y="439615"/>
                  </a:cubicBezTo>
                  <a:cubicBezTo>
                    <a:pt x="239538" y="453876"/>
                    <a:pt x="240452" y="454907"/>
                    <a:pt x="275493" y="468923"/>
                  </a:cubicBezTo>
                  <a:cubicBezTo>
                    <a:pt x="281229" y="471218"/>
                    <a:pt x="287019" y="473572"/>
                    <a:pt x="293077" y="474784"/>
                  </a:cubicBezTo>
                  <a:cubicBezTo>
                    <a:pt x="410248" y="498217"/>
                    <a:pt x="320932" y="474369"/>
                    <a:pt x="404446" y="498230"/>
                  </a:cubicBezTo>
                  <a:cubicBezTo>
                    <a:pt x="431125" y="516015"/>
                    <a:pt x="411881" y="505414"/>
                    <a:pt x="439616" y="515815"/>
                  </a:cubicBezTo>
                  <a:cubicBezTo>
                    <a:pt x="449468" y="519509"/>
                    <a:pt x="458772" y="524770"/>
                    <a:pt x="468923" y="527538"/>
                  </a:cubicBezTo>
                  <a:cubicBezTo>
                    <a:pt x="480389" y="530665"/>
                    <a:pt x="492400" y="531274"/>
                    <a:pt x="504093" y="533400"/>
                  </a:cubicBezTo>
                  <a:cubicBezTo>
                    <a:pt x="513895" y="535182"/>
                    <a:pt x="523631" y="537307"/>
                    <a:pt x="533400" y="539261"/>
                  </a:cubicBezTo>
                  <a:cubicBezTo>
                    <a:pt x="539262" y="543169"/>
                    <a:pt x="544684" y="547833"/>
                    <a:pt x="550985" y="550984"/>
                  </a:cubicBezTo>
                  <a:cubicBezTo>
                    <a:pt x="556511" y="553747"/>
                    <a:pt x="563428" y="553419"/>
                    <a:pt x="568569" y="556846"/>
                  </a:cubicBezTo>
                  <a:cubicBezTo>
                    <a:pt x="575466" y="561444"/>
                    <a:pt x="579611" y="569341"/>
                    <a:pt x="586154" y="574430"/>
                  </a:cubicBezTo>
                  <a:cubicBezTo>
                    <a:pt x="618384" y="599497"/>
                    <a:pt x="627030" y="598844"/>
                    <a:pt x="662354" y="621323"/>
                  </a:cubicBezTo>
                  <a:cubicBezTo>
                    <a:pt x="701036" y="645939"/>
                    <a:pt x="669073" y="634725"/>
                    <a:pt x="709246" y="644769"/>
                  </a:cubicBezTo>
                  <a:cubicBezTo>
                    <a:pt x="712134" y="653433"/>
                    <a:pt x="720459" y="681166"/>
                    <a:pt x="726831" y="685800"/>
                  </a:cubicBezTo>
                  <a:cubicBezTo>
                    <a:pt x="742394" y="697118"/>
                    <a:pt x="761624" y="702338"/>
                    <a:pt x="779585" y="709246"/>
                  </a:cubicBezTo>
                  <a:cubicBezTo>
                    <a:pt x="792954" y="714388"/>
                    <a:pt x="826962" y="719096"/>
                    <a:pt x="838200" y="720969"/>
                  </a:cubicBezTo>
                  <a:cubicBezTo>
                    <a:pt x="887411" y="757876"/>
                    <a:pt x="833919" y="723027"/>
                    <a:pt x="890954" y="744415"/>
                  </a:cubicBezTo>
                  <a:cubicBezTo>
                    <a:pt x="897550" y="746889"/>
                    <a:pt x="902064" y="753363"/>
                    <a:pt x="908539" y="756138"/>
                  </a:cubicBezTo>
                  <a:cubicBezTo>
                    <a:pt x="915944" y="759311"/>
                    <a:pt x="924170" y="760046"/>
                    <a:pt x="931985" y="762000"/>
                  </a:cubicBezTo>
                  <a:cubicBezTo>
                    <a:pt x="952737" y="775835"/>
                    <a:pt x="992607" y="801798"/>
                    <a:pt x="1002323" y="814753"/>
                  </a:cubicBezTo>
                  <a:lnTo>
                    <a:pt x="1019908" y="838200"/>
                  </a:lnTo>
                  <a:cubicBezTo>
                    <a:pt x="1021862" y="846015"/>
                    <a:pt x="1023556" y="853900"/>
                    <a:pt x="1025769" y="861646"/>
                  </a:cubicBezTo>
                  <a:cubicBezTo>
                    <a:pt x="1027466" y="867587"/>
                    <a:pt x="1030132" y="873236"/>
                    <a:pt x="1031631" y="879230"/>
                  </a:cubicBezTo>
                  <a:cubicBezTo>
                    <a:pt x="1034048" y="888895"/>
                    <a:pt x="1031702" y="900431"/>
                    <a:pt x="1037493" y="908538"/>
                  </a:cubicBezTo>
                  <a:cubicBezTo>
                    <a:pt x="1044156" y="917866"/>
                    <a:pt x="1074579" y="923671"/>
                    <a:pt x="1084385" y="926123"/>
                  </a:cubicBezTo>
                  <a:cubicBezTo>
                    <a:pt x="1082322" y="977684"/>
                    <a:pt x="1080890" y="1075425"/>
                    <a:pt x="1072662" y="1137138"/>
                  </a:cubicBezTo>
                  <a:cubicBezTo>
                    <a:pt x="1071980" y="1142255"/>
                    <a:pt x="1064225" y="1171597"/>
                    <a:pt x="1060939" y="1178169"/>
                  </a:cubicBezTo>
                  <a:cubicBezTo>
                    <a:pt x="1059703" y="1180640"/>
                    <a:pt x="1057031" y="1182076"/>
                    <a:pt x="1055077" y="118403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BC084E90-13E6-56EF-230D-41A8C7EC6A67}"/>
                </a:ext>
              </a:extLst>
            </p:cNvPr>
            <p:cNvSpPr/>
            <p:nvPr/>
          </p:nvSpPr>
          <p:spPr bwMode="gray">
            <a:xfrm>
              <a:off x="5893134" y="4157518"/>
              <a:ext cx="585805" cy="713595"/>
            </a:xfrm>
            <a:custGeom>
              <a:avLst/>
              <a:gdLst>
                <a:gd name="connsiteX0" fmla="*/ 986 w 774709"/>
                <a:gd name="connsiteY0" fmla="*/ 0 h 943708"/>
                <a:gd name="connsiteX1" fmla="*/ 18571 w 774709"/>
                <a:gd name="connsiteY1" fmla="*/ 117231 h 943708"/>
                <a:gd name="connsiteX2" fmla="*/ 36155 w 774709"/>
                <a:gd name="connsiteY2" fmla="*/ 134816 h 943708"/>
                <a:gd name="connsiteX3" fmla="*/ 47878 w 774709"/>
                <a:gd name="connsiteY3" fmla="*/ 169985 h 943708"/>
                <a:gd name="connsiteX4" fmla="*/ 53740 w 774709"/>
                <a:gd name="connsiteY4" fmla="*/ 263769 h 943708"/>
                <a:gd name="connsiteX5" fmla="*/ 112355 w 774709"/>
                <a:gd name="connsiteY5" fmla="*/ 281354 h 943708"/>
                <a:gd name="connsiteX6" fmla="*/ 141663 w 774709"/>
                <a:gd name="connsiteY6" fmla="*/ 304800 h 943708"/>
                <a:gd name="connsiteX7" fmla="*/ 176832 w 774709"/>
                <a:gd name="connsiteY7" fmla="*/ 322385 h 943708"/>
                <a:gd name="connsiteX8" fmla="*/ 206140 w 774709"/>
                <a:gd name="connsiteY8" fmla="*/ 351693 h 943708"/>
                <a:gd name="connsiteX9" fmla="*/ 235448 w 774709"/>
                <a:gd name="connsiteY9" fmla="*/ 375139 h 943708"/>
                <a:gd name="connsiteX10" fmla="*/ 317509 w 774709"/>
                <a:gd name="connsiteY10" fmla="*/ 445477 h 943708"/>
                <a:gd name="connsiteX11" fmla="*/ 358540 w 774709"/>
                <a:gd name="connsiteY11" fmla="*/ 498231 h 943708"/>
                <a:gd name="connsiteX12" fmla="*/ 376124 w 774709"/>
                <a:gd name="connsiteY12" fmla="*/ 521677 h 943708"/>
                <a:gd name="connsiteX13" fmla="*/ 381986 w 774709"/>
                <a:gd name="connsiteY13" fmla="*/ 539262 h 943708"/>
                <a:gd name="connsiteX14" fmla="*/ 405432 w 774709"/>
                <a:gd name="connsiteY14" fmla="*/ 574431 h 943708"/>
                <a:gd name="connsiteX15" fmla="*/ 417155 w 774709"/>
                <a:gd name="connsiteY15" fmla="*/ 627185 h 943708"/>
                <a:gd name="connsiteX16" fmla="*/ 428878 w 774709"/>
                <a:gd name="connsiteY16" fmla="*/ 679939 h 943708"/>
                <a:gd name="connsiteX17" fmla="*/ 434740 w 774709"/>
                <a:gd name="connsiteY17" fmla="*/ 697523 h 943708"/>
                <a:gd name="connsiteX18" fmla="*/ 458186 w 774709"/>
                <a:gd name="connsiteY18" fmla="*/ 726831 h 943708"/>
                <a:gd name="connsiteX19" fmla="*/ 469909 w 774709"/>
                <a:gd name="connsiteY19" fmla="*/ 744416 h 943708"/>
                <a:gd name="connsiteX20" fmla="*/ 522663 w 774709"/>
                <a:gd name="connsiteY20" fmla="*/ 773723 h 943708"/>
                <a:gd name="connsiteX21" fmla="*/ 557832 w 774709"/>
                <a:gd name="connsiteY21" fmla="*/ 797169 h 943708"/>
                <a:gd name="connsiteX22" fmla="*/ 598863 w 774709"/>
                <a:gd name="connsiteY22" fmla="*/ 826477 h 943708"/>
                <a:gd name="connsiteX23" fmla="*/ 634032 w 774709"/>
                <a:gd name="connsiteY23" fmla="*/ 855785 h 943708"/>
                <a:gd name="connsiteX24" fmla="*/ 710232 w 774709"/>
                <a:gd name="connsiteY24" fmla="*/ 890954 h 943708"/>
                <a:gd name="connsiteX25" fmla="*/ 745401 w 774709"/>
                <a:gd name="connsiteY25" fmla="*/ 914400 h 943708"/>
                <a:gd name="connsiteX26" fmla="*/ 774709 w 774709"/>
                <a:gd name="connsiteY26" fmla="*/ 943708 h 943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74709" h="943708">
                  <a:moveTo>
                    <a:pt x="986" y="0"/>
                  </a:moveTo>
                  <a:cubicBezTo>
                    <a:pt x="4555" y="60671"/>
                    <a:pt x="-11035" y="81702"/>
                    <a:pt x="18571" y="117231"/>
                  </a:cubicBezTo>
                  <a:cubicBezTo>
                    <a:pt x="23878" y="123599"/>
                    <a:pt x="30294" y="128954"/>
                    <a:pt x="36155" y="134816"/>
                  </a:cubicBezTo>
                  <a:cubicBezTo>
                    <a:pt x="40063" y="146539"/>
                    <a:pt x="46208" y="157741"/>
                    <a:pt x="47878" y="169985"/>
                  </a:cubicBezTo>
                  <a:cubicBezTo>
                    <a:pt x="52110" y="201020"/>
                    <a:pt x="42387" y="234576"/>
                    <a:pt x="53740" y="263769"/>
                  </a:cubicBezTo>
                  <a:cubicBezTo>
                    <a:pt x="55278" y="267723"/>
                    <a:pt x="103827" y="279222"/>
                    <a:pt x="112355" y="281354"/>
                  </a:cubicBezTo>
                  <a:cubicBezTo>
                    <a:pt x="122124" y="289169"/>
                    <a:pt x="131108" y="298083"/>
                    <a:pt x="141663" y="304800"/>
                  </a:cubicBezTo>
                  <a:cubicBezTo>
                    <a:pt x="152721" y="311837"/>
                    <a:pt x="166232" y="314676"/>
                    <a:pt x="176832" y="322385"/>
                  </a:cubicBezTo>
                  <a:cubicBezTo>
                    <a:pt x="188005" y="330511"/>
                    <a:pt x="195871" y="342451"/>
                    <a:pt x="206140" y="351693"/>
                  </a:cubicBezTo>
                  <a:cubicBezTo>
                    <a:pt x="215439" y="360062"/>
                    <a:pt x="225330" y="367781"/>
                    <a:pt x="235448" y="375139"/>
                  </a:cubicBezTo>
                  <a:cubicBezTo>
                    <a:pt x="276282" y="404836"/>
                    <a:pt x="280623" y="398053"/>
                    <a:pt x="317509" y="445477"/>
                  </a:cubicBezTo>
                  <a:lnTo>
                    <a:pt x="358540" y="498231"/>
                  </a:lnTo>
                  <a:cubicBezTo>
                    <a:pt x="364496" y="505974"/>
                    <a:pt x="376124" y="521677"/>
                    <a:pt x="376124" y="521677"/>
                  </a:cubicBezTo>
                  <a:cubicBezTo>
                    <a:pt x="378078" y="527539"/>
                    <a:pt x="378985" y="533861"/>
                    <a:pt x="381986" y="539262"/>
                  </a:cubicBezTo>
                  <a:cubicBezTo>
                    <a:pt x="388828" y="551578"/>
                    <a:pt x="405432" y="574431"/>
                    <a:pt x="405432" y="574431"/>
                  </a:cubicBezTo>
                  <a:cubicBezTo>
                    <a:pt x="416719" y="619576"/>
                    <a:pt x="405993" y="575095"/>
                    <a:pt x="417155" y="627185"/>
                  </a:cubicBezTo>
                  <a:cubicBezTo>
                    <a:pt x="420929" y="644799"/>
                    <a:pt x="424509" y="662463"/>
                    <a:pt x="428878" y="679939"/>
                  </a:cubicBezTo>
                  <a:cubicBezTo>
                    <a:pt x="430377" y="685933"/>
                    <a:pt x="431465" y="692284"/>
                    <a:pt x="434740" y="697523"/>
                  </a:cubicBezTo>
                  <a:cubicBezTo>
                    <a:pt x="441371" y="708132"/>
                    <a:pt x="450680" y="716822"/>
                    <a:pt x="458186" y="726831"/>
                  </a:cubicBezTo>
                  <a:cubicBezTo>
                    <a:pt x="462413" y="732467"/>
                    <a:pt x="464212" y="740272"/>
                    <a:pt x="469909" y="744416"/>
                  </a:cubicBezTo>
                  <a:cubicBezTo>
                    <a:pt x="486178" y="756248"/>
                    <a:pt x="505414" y="763374"/>
                    <a:pt x="522663" y="773723"/>
                  </a:cubicBezTo>
                  <a:cubicBezTo>
                    <a:pt x="534745" y="780972"/>
                    <a:pt x="546109" y="789354"/>
                    <a:pt x="557832" y="797169"/>
                  </a:cubicBezTo>
                  <a:cubicBezTo>
                    <a:pt x="575672" y="809062"/>
                    <a:pt x="580699" y="811946"/>
                    <a:pt x="598863" y="826477"/>
                  </a:cubicBezTo>
                  <a:cubicBezTo>
                    <a:pt x="610779" y="836010"/>
                    <a:pt x="621485" y="847099"/>
                    <a:pt x="634032" y="855785"/>
                  </a:cubicBezTo>
                  <a:cubicBezTo>
                    <a:pt x="708619" y="907423"/>
                    <a:pt x="642212" y="856944"/>
                    <a:pt x="710232" y="890954"/>
                  </a:cubicBezTo>
                  <a:cubicBezTo>
                    <a:pt x="722834" y="897255"/>
                    <a:pt x="734130" y="905947"/>
                    <a:pt x="745401" y="914400"/>
                  </a:cubicBezTo>
                  <a:cubicBezTo>
                    <a:pt x="772343" y="934606"/>
                    <a:pt x="764479" y="923247"/>
                    <a:pt x="774709" y="943708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CBFCF4AB-99E9-B79D-671D-4CAD40BE6A03}"/>
                </a:ext>
              </a:extLst>
            </p:cNvPr>
            <p:cNvSpPr/>
            <p:nvPr/>
          </p:nvSpPr>
          <p:spPr bwMode="gray">
            <a:xfrm>
              <a:off x="5229039" y="4104331"/>
              <a:ext cx="221614" cy="177290"/>
            </a:xfrm>
            <a:custGeom>
              <a:avLst/>
              <a:gdLst>
                <a:gd name="connsiteX0" fmla="*/ 0 w 293077"/>
                <a:gd name="connsiteY0" fmla="*/ 0 h 234461"/>
                <a:gd name="connsiteX1" fmla="*/ 35169 w 293077"/>
                <a:gd name="connsiteY1" fmla="*/ 17584 h 234461"/>
                <a:gd name="connsiteX2" fmla="*/ 82062 w 293077"/>
                <a:gd name="connsiteY2" fmla="*/ 52754 h 234461"/>
                <a:gd name="connsiteX3" fmla="*/ 93785 w 293077"/>
                <a:gd name="connsiteY3" fmla="*/ 70338 h 234461"/>
                <a:gd name="connsiteX4" fmla="*/ 134816 w 293077"/>
                <a:gd name="connsiteY4" fmla="*/ 105507 h 234461"/>
                <a:gd name="connsiteX5" fmla="*/ 169985 w 293077"/>
                <a:gd name="connsiteY5" fmla="*/ 158261 h 234461"/>
                <a:gd name="connsiteX6" fmla="*/ 211016 w 293077"/>
                <a:gd name="connsiteY6" fmla="*/ 193431 h 234461"/>
                <a:gd name="connsiteX7" fmla="*/ 240323 w 293077"/>
                <a:gd name="connsiteY7" fmla="*/ 211015 h 234461"/>
                <a:gd name="connsiteX8" fmla="*/ 257908 w 293077"/>
                <a:gd name="connsiteY8" fmla="*/ 216877 h 234461"/>
                <a:gd name="connsiteX9" fmla="*/ 293077 w 293077"/>
                <a:gd name="connsiteY9" fmla="*/ 234461 h 23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3077" h="234461">
                  <a:moveTo>
                    <a:pt x="0" y="0"/>
                  </a:moveTo>
                  <a:cubicBezTo>
                    <a:pt x="11723" y="5861"/>
                    <a:pt x="24432" y="10068"/>
                    <a:pt x="35169" y="17584"/>
                  </a:cubicBezTo>
                  <a:cubicBezTo>
                    <a:pt x="109234" y="69429"/>
                    <a:pt x="13599" y="18522"/>
                    <a:pt x="82062" y="52754"/>
                  </a:cubicBezTo>
                  <a:cubicBezTo>
                    <a:pt x="85970" y="58615"/>
                    <a:pt x="88804" y="65357"/>
                    <a:pt x="93785" y="70338"/>
                  </a:cubicBezTo>
                  <a:cubicBezTo>
                    <a:pt x="117548" y="94101"/>
                    <a:pt x="115681" y="79993"/>
                    <a:pt x="134816" y="105507"/>
                  </a:cubicBezTo>
                  <a:cubicBezTo>
                    <a:pt x="174188" y="158003"/>
                    <a:pt x="131191" y="113001"/>
                    <a:pt x="169985" y="158261"/>
                  </a:cubicBezTo>
                  <a:cubicBezTo>
                    <a:pt x="182062" y="172351"/>
                    <a:pt x="195569" y="183133"/>
                    <a:pt x="211016" y="193431"/>
                  </a:cubicBezTo>
                  <a:cubicBezTo>
                    <a:pt x="220495" y="199750"/>
                    <a:pt x="230133" y="205920"/>
                    <a:pt x="240323" y="211015"/>
                  </a:cubicBezTo>
                  <a:cubicBezTo>
                    <a:pt x="245849" y="213778"/>
                    <a:pt x="252382" y="214114"/>
                    <a:pt x="257908" y="216877"/>
                  </a:cubicBezTo>
                  <a:cubicBezTo>
                    <a:pt x="303354" y="239600"/>
                    <a:pt x="248884" y="219731"/>
                    <a:pt x="293077" y="234461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3FA01B4D-86F8-021F-55E2-F71D147AEA02}"/>
                </a:ext>
              </a:extLst>
            </p:cNvPr>
            <p:cNvSpPr/>
            <p:nvPr/>
          </p:nvSpPr>
          <p:spPr bwMode="gray">
            <a:xfrm>
              <a:off x="5388601" y="4197408"/>
              <a:ext cx="35458" cy="75348"/>
            </a:xfrm>
            <a:custGeom>
              <a:avLst/>
              <a:gdLst>
                <a:gd name="connsiteX0" fmla="*/ 0 w 46892"/>
                <a:gd name="connsiteY0" fmla="*/ 0 h 99646"/>
                <a:gd name="connsiteX1" fmla="*/ 17584 w 46892"/>
                <a:gd name="connsiteY1" fmla="*/ 29308 h 99646"/>
                <a:gd name="connsiteX2" fmla="*/ 35169 w 46892"/>
                <a:gd name="connsiteY2" fmla="*/ 46892 h 99646"/>
                <a:gd name="connsiteX3" fmla="*/ 41030 w 46892"/>
                <a:gd name="connsiteY3" fmla="*/ 76200 h 99646"/>
                <a:gd name="connsiteX4" fmla="*/ 46892 w 46892"/>
                <a:gd name="connsiteY4" fmla="*/ 99646 h 99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92" h="99646">
                  <a:moveTo>
                    <a:pt x="0" y="0"/>
                  </a:moveTo>
                  <a:cubicBezTo>
                    <a:pt x="5861" y="9769"/>
                    <a:pt x="10748" y="20194"/>
                    <a:pt x="17584" y="29308"/>
                  </a:cubicBezTo>
                  <a:cubicBezTo>
                    <a:pt x="22558" y="35940"/>
                    <a:pt x="31462" y="39478"/>
                    <a:pt x="35169" y="46892"/>
                  </a:cubicBezTo>
                  <a:cubicBezTo>
                    <a:pt x="39624" y="55803"/>
                    <a:pt x="38869" y="66474"/>
                    <a:pt x="41030" y="76200"/>
                  </a:cubicBezTo>
                  <a:cubicBezTo>
                    <a:pt x="42778" y="84064"/>
                    <a:pt x="46892" y="99646"/>
                    <a:pt x="46892" y="99646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805A9018-B6EF-949B-D7A3-3D523DBF02F5}"/>
                </a:ext>
              </a:extLst>
            </p:cNvPr>
            <p:cNvSpPr/>
            <p:nvPr/>
          </p:nvSpPr>
          <p:spPr bwMode="gray">
            <a:xfrm>
              <a:off x="6463472" y="3572459"/>
              <a:ext cx="418803" cy="1342975"/>
            </a:xfrm>
            <a:custGeom>
              <a:avLst/>
              <a:gdLst>
                <a:gd name="connsiteX0" fmla="*/ 14593 w 553854"/>
                <a:gd name="connsiteY0" fmla="*/ 1776046 h 1776046"/>
                <a:gd name="connsiteX1" fmla="*/ 8731 w 553854"/>
                <a:gd name="connsiteY1" fmla="*/ 1365739 h 1776046"/>
                <a:gd name="connsiteX2" fmla="*/ 14593 w 553854"/>
                <a:gd name="connsiteY2" fmla="*/ 1318846 h 1776046"/>
                <a:gd name="connsiteX3" fmla="*/ 43900 w 553854"/>
                <a:gd name="connsiteY3" fmla="*/ 1307123 h 1776046"/>
                <a:gd name="connsiteX4" fmla="*/ 108377 w 553854"/>
                <a:gd name="connsiteY4" fmla="*/ 1271954 h 1776046"/>
                <a:gd name="connsiteX5" fmla="*/ 125962 w 553854"/>
                <a:gd name="connsiteY5" fmla="*/ 1248508 h 1776046"/>
                <a:gd name="connsiteX6" fmla="*/ 137685 w 553854"/>
                <a:gd name="connsiteY6" fmla="*/ 1195754 h 1776046"/>
                <a:gd name="connsiteX7" fmla="*/ 125962 w 553854"/>
                <a:gd name="connsiteY7" fmla="*/ 1143000 h 1776046"/>
                <a:gd name="connsiteX8" fmla="*/ 120100 w 553854"/>
                <a:gd name="connsiteY8" fmla="*/ 1125416 h 1776046"/>
                <a:gd name="connsiteX9" fmla="*/ 108377 w 553854"/>
                <a:gd name="connsiteY9" fmla="*/ 1113692 h 1776046"/>
                <a:gd name="connsiteX10" fmla="*/ 96654 w 553854"/>
                <a:gd name="connsiteY10" fmla="*/ 1084385 h 1776046"/>
                <a:gd name="connsiteX11" fmla="*/ 90793 w 553854"/>
                <a:gd name="connsiteY11" fmla="*/ 1066800 h 1776046"/>
                <a:gd name="connsiteX12" fmla="*/ 102516 w 553854"/>
                <a:gd name="connsiteY12" fmla="*/ 1025769 h 1776046"/>
                <a:gd name="connsiteX13" fmla="*/ 108377 w 553854"/>
                <a:gd name="connsiteY13" fmla="*/ 1002323 h 1776046"/>
                <a:gd name="connsiteX14" fmla="*/ 125962 w 553854"/>
                <a:gd name="connsiteY14" fmla="*/ 978877 h 1776046"/>
                <a:gd name="connsiteX15" fmla="*/ 131823 w 553854"/>
                <a:gd name="connsiteY15" fmla="*/ 961292 h 1776046"/>
                <a:gd name="connsiteX16" fmla="*/ 143546 w 553854"/>
                <a:gd name="connsiteY16" fmla="*/ 943708 h 1776046"/>
                <a:gd name="connsiteX17" fmla="*/ 137685 w 553854"/>
                <a:gd name="connsiteY17" fmla="*/ 791308 h 1776046"/>
                <a:gd name="connsiteX18" fmla="*/ 125962 w 553854"/>
                <a:gd name="connsiteY18" fmla="*/ 720969 h 1776046"/>
                <a:gd name="connsiteX19" fmla="*/ 137685 w 553854"/>
                <a:gd name="connsiteY19" fmla="*/ 644769 h 1776046"/>
                <a:gd name="connsiteX20" fmla="*/ 184577 w 553854"/>
                <a:gd name="connsiteY20" fmla="*/ 562708 h 1776046"/>
                <a:gd name="connsiteX21" fmla="*/ 202162 w 553854"/>
                <a:gd name="connsiteY21" fmla="*/ 545123 h 1776046"/>
                <a:gd name="connsiteX22" fmla="*/ 231469 w 553854"/>
                <a:gd name="connsiteY22" fmla="*/ 492369 h 1776046"/>
                <a:gd name="connsiteX23" fmla="*/ 243193 w 553854"/>
                <a:gd name="connsiteY23" fmla="*/ 480646 h 1776046"/>
                <a:gd name="connsiteX24" fmla="*/ 260777 w 553854"/>
                <a:gd name="connsiteY24" fmla="*/ 427892 h 1776046"/>
                <a:gd name="connsiteX25" fmla="*/ 284223 w 553854"/>
                <a:gd name="connsiteY25" fmla="*/ 369277 h 1776046"/>
                <a:gd name="connsiteX26" fmla="*/ 295946 w 553854"/>
                <a:gd name="connsiteY26" fmla="*/ 310662 h 1776046"/>
                <a:gd name="connsiteX27" fmla="*/ 301808 w 553854"/>
                <a:gd name="connsiteY27" fmla="*/ 263769 h 1776046"/>
                <a:gd name="connsiteX28" fmla="*/ 331116 w 553854"/>
                <a:gd name="connsiteY28" fmla="*/ 228600 h 1776046"/>
                <a:gd name="connsiteX29" fmla="*/ 348700 w 553854"/>
                <a:gd name="connsiteY29" fmla="*/ 205154 h 1776046"/>
                <a:gd name="connsiteX30" fmla="*/ 360423 w 553854"/>
                <a:gd name="connsiteY30" fmla="*/ 164123 h 1776046"/>
                <a:gd name="connsiteX31" fmla="*/ 366285 w 553854"/>
                <a:gd name="connsiteY31" fmla="*/ 140677 h 1776046"/>
                <a:gd name="connsiteX32" fmla="*/ 383869 w 553854"/>
                <a:gd name="connsiteY32" fmla="*/ 134816 h 1776046"/>
                <a:gd name="connsiteX33" fmla="*/ 454208 w 553854"/>
                <a:gd name="connsiteY33" fmla="*/ 128954 h 1776046"/>
                <a:gd name="connsiteX34" fmla="*/ 495239 w 553854"/>
                <a:gd name="connsiteY34" fmla="*/ 87923 h 1776046"/>
                <a:gd name="connsiteX35" fmla="*/ 547993 w 553854"/>
                <a:gd name="connsiteY35" fmla="*/ 17585 h 1776046"/>
                <a:gd name="connsiteX36" fmla="*/ 553854 w 553854"/>
                <a:gd name="connsiteY36" fmla="*/ 0 h 177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53854" h="1776046">
                  <a:moveTo>
                    <a:pt x="14593" y="1776046"/>
                  </a:moveTo>
                  <a:cubicBezTo>
                    <a:pt x="12639" y="1639277"/>
                    <a:pt x="12477" y="1502471"/>
                    <a:pt x="8731" y="1365739"/>
                  </a:cubicBezTo>
                  <a:cubicBezTo>
                    <a:pt x="8080" y="1341980"/>
                    <a:pt x="-13966" y="1347405"/>
                    <a:pt x="14593" y="1318846"/>
                  </a:cubicBezTo>
                  <a:cubicBezTo>
                    <a:pt x="22033" y="1311406"/>
                    <a:pt x="34636" y="1312111"/>
                    <a:pt x="43900" y="1307123"/>
                  </a:cubicBezTo>
                  <a:cubicBezTo>
                    <a:pt x="118027" y="1267209"/>
                    <a:pt x="65934" y="1286103"/>
                    <a:pt x="108377" y="1271954"/>
                  </a:cubicBezTo>
                  <a:cubicBezTo>
                    <a:pt x="114239" y="1264139"/>
                    <a:pt x="121593" y="1257246"/>
                    <a:pt x="125962" y="1248508"/>
                  </a:cubicBezTo>
                  <a:cubicBezTo>
                    <a:pt x="128719" y="1242993"/>
                    <a:pt x="137069" y="1198832"/>
                    <a:pt x="137685" y="1195754"/>
                  </a:cubicBezTo>
                  <a:cubicBezTo>
                    <a:pt x="133777" y="1178169"/>
                    <a:pt x="130331" y="1160476"/>
                    <a:pt x="125962" y="1143000"/>
                  </a:cubicBezTo>
                  <a:cubicBezTo>
                    <a:pt x="124463" y="1137006"/>
                    <a:pt x="123279" y="1130714"/>
                    <a:pt x="120100" y="1125416"/>
                  </a:cubicBezTo>
                  <a:cubicBezTo>
                    <a:pt x="117257" y="1120677"/>
                    <a:pt x="112285" y="1117600"/>
                    <a:pt x="108377" y="1113692"/>
                  </a:cubicBezTo>
                  <a:cubicBezTo>
                    <a:pt x="104469" y="1103923"/>
                    <a:pt x="100348" y="1094237"/>
                    <a:pt x="96654" y="1084385"/>
                  </a:cubicBezTo>
                  <a:cubicBezTo>
                    <a:pt x="94485" y="1078600"/>
                    <a:pt x="90178" y="1072948"/>
                    <a:pt x="90793" y="1066800"/>
                  </a:cubicBezTo>
                  <a:cubicBezTo>
                    <a:pt x="92208" y="1052646"/>
                    <a:pt x="98773" y="1039492"/>
                    <a:pt x="102516" y="1025769"/>
                  </a:cubicBezTo>
                  <a:cubicBezTo>
                    <a:pt x="104636" y="1017997"/>
                    <a:pt x="104774" y="1009528"/>
                    <a:pt x="108377" y="1002323"/>
                  </a:cubicBezTo>
                  <a:cubicBezTo>
                    <a:pt x="112746" y="993585"/>
                    <a:pt x="120100" y="986692"/>
                    <a:pt x="125962" y="978877"/>
                  </a:cubicBezTo>
                  <a:cubicBezTo>
                    <a:pt x="127916" y="973015"/>
                    <a:pt x="129060" y="966818"/>
                    <a:pt x="131823" y="961292"/>
                  </a:cubicBezTo>
                  <a:cubicBezTo>
                    <a:pt x="134973" y="954991"/>
                    <a:pt x="143303" y="950748"/>
                    <a:pt x="143546" y="943708"/>
                  </a:cubicBezTo>
                  <a:cubicBezTo>
                    <a:pt x="145298" y="892901"/>
                    <a:pt x="140670" y="842058"/>
                    <a:pt x="137685" y="791308"/>
                  </a:cubicBezTo>
                  <a:cubicBezTo>
                    <a:pt x="135574" y="755427"/>
                    <a:pt x="133213" y="749978"/>
                    <a:pt x="125962" y="720969"/>
                  </a:cubicBezTo>
                  <a:cubicBezTo>
                    <a:pt x="129870" y="695569"/>
                    <a:pt x="130202" y="669354"/>
                    <a:pt x="137685" y="644769"/>
                  </a:cubicBezTo>
                  <a:cubicBezTo>
                    <a:pt x="145530" y="618994"/>
                    <a:pt x="165439" y="585036"/>
                    <a:pt x="184577" y="562708"/>
                  </a:cubicBezTo>
                  <a:cubicBezTo>
                    <a:pt x="189972" y="556414"/>
                    <a:pt x="197188" y="551755"/>
                    <a:pt x="202162" y="545123"/>
                  </a:cubicBezTo>
                  <a:cubicBezTo>
                    <a:pt x="245876" y="486838"/>
                    <a:pt x="198058" y="542485"/>
                    <a:pt x="231469" y="492369"/>
                  </a:cubicBezTo>
                  <a:cubicBezTo>
                    <a:pt x="234535" y="487771"/>
                    <a:pt x="239285" y="484554"/>
                    <a:pt x="243193" y="480646"/>
                  </a:cubicBezTo>
                  <a:cubicBezTo>
                    <a:pt x="249996" y="453430"/>
                    <a:pt x="248164" y="456271"/>
                    <a:pt x="260777" y="427892"/>
                  </a:cubicBezTo>
                  <a:cubicBezTo>
                    <a:pt x="274637" y="396706"/>
                    <a:pt x="274530" y="408051"/>
                    <a:pt x="284223" y="369277"/>
                  </a:cubicBezTo>
                  <a:cubicBezTo>
                    <a:pt x="289056" y="349947"/>
                    <a:pt x="293474" y="330433"/>
                    <a:pt x="295946" y="310662"/>
                  </a:cubicBezTo>
                  <a:cubicBezTo>
                    <a:pt x="297900" y="295031"/>
                    <a:pt x="295603" y="278248"/>
                    <a:pt x="301808" y="263769"/>
                  </a:cubicBezTo>
                  <a:cubicBezTo>
                    <a:pt x="307819" y="249743"/>
                    <a:pt x="321583" y="240516"/>
                    <a:pt x="331116" y="228600"/>
                  </a:cubicBezTo>
                  <a:cubicBezTo>
                    <a:pt x="337219" y="220972"/>
                    <a:pt x="342839" y="212969"/>
                    <a:pt x="348700" y="205154"/>
                  </a:cubicBezTo>
                  <a:cubicBezTo>
                    <a:pt x="352608" y="191477"/>
                    <a:pt x="356680" y="177846"/>
                    <a:pt x="360423" y="164123"/>
                  </a:cubicBezTo>
                  <a:cubicBezTo>
                    <a:pt x="362543" y="156351"/>
                    <a:pt x="361252" y="146968"/>
                    <a:pt x="366285" y="140677"/>
                  </a:cubicBezTo>
                  <a:cubicBezTo>
                    <a:pt x="370145" y="135853"/>
                    <a:pt x="377745" y="135633"/>
                    <a:pt x="383869" y="134816"/>
                  </a:cubicBezTo>
                  <a:cubicBezTo>
                    <a:pt x="407190" y="131707"/>
                    <a:pt x="430762" y="130908"/>
                    <a:pt x="454208" y="128954"/>
                  </a:cubicBezTo>
                  <a:cubicBezTo>
                    <a:pt x="503639" y="89410"/>
                    <a:pt x="468343" y="122504"/>
                    <a:pt x="495239" y="87923"/>
                  </a:cubicBezTo>
                  <a:cubicBezTo>
                    <a:pt x="505237" y="75068"/>
                    <a:pt x="542237" y="34854"/>
                    <a:pt x="547993" y="17585"/>
                  </a:cubicBezTo>
                  <a:lnTo>
                    <a:pt x="553854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7F7834CB-F375-3F7F-9BCB-30F724AC1CFC}"/>
                </a:ext>
              </a:extLst>
            </p:cNvPr>
            <p:cNvSpPr/>
            <p:nvPr/>
          </p:nvSpPr>
          <p:spPr bwMode="gray">
            <a:xfrm>
              <a:off x="5982525" y="3643377"/>
              <a:ext cx="784511" cy="491981"/>
            </a:xfrm>
            <a:custGeom>
              <a:avLst/>
              <a:gdLst>
                <a:gd name="connsiteX0" fmla="*/ 0 w 1037492"/>
                <a:gd name="connsiteY0" fmla="*/ 650631 h 650631"/>
                <a:gd name="connsiteX1" fmla="*/ 11723 w 1037492"/>
                <a:gd name="connsiteY1" fmla="*/ 621323 h 650631"/>
                <a:gd name="connsiteX2" fmla="*/ 41031 w 1037492"/>
                <a:gd name="connsiteY2" fmla="*/ 515815 h 650631"/>
                <a:gd name="connsiteX3" fmla="*/ 46892 w 1037492"/>
                <a:gd name="connsiteY3" fmla="*/ 457200 h 650631"/>
                <a:gd name="connsiteX4" fmla="*/ 52754 w 1037492"/>
                <a:gd name="connsiteY4" fmla="*/ 433754 h 650631"/>
                <a:gd name="connsiteX5" fmla="*/ 93784 w 1037492"/>
                <a:gd name="connsiteY5" fmla="*/ 416169 h 650631"/>
                <a:gd name="connsiteX6" fmla="*/ 111369 w 1037492"/>
                <a:gd name="connsiteY6" fmla="*/ 410307 h 650631"/>
                <a:gd name="connsiteX7" fmla="*/ 128954 w 1037492"/>
                <a:gd name="connsiteY7" fmla="*/ 398584 h 650631"/>
                <a:gd name="connsiteX8" fmla="*/ 187569 w 1037492"/>
                <a:gd name="connsiteY8" fmla="*/ 386861 h 650631"/>
                <a:gd name="connsiteX9" fmla="*/ 205154 w 1037492"/>
                <a:gd name="connsiteY9" fmla="*/ 381000 h 650631"/>
                <a:gd name="connsiteX10" fmla="*/ 228600 w 1037492"/>
                <a:gd name="connsiteY10" fmla="*/ 334107 h 650631"/>
                <a:gd name="connsiteX11" fmla="*/ 257907 w 1037492"/>
                <a:gd name="connsiteY11" fmla="*/ 310661 h 650631"/>
                <a:gd name="connsiteX12" fmla="*/ 281354 w 1037492"/>
                <a:gd name="connsiteY12" fmla="*/ 298938 h 650631"/>
                <a:gd name="connsiteX13" fmla="*/ 357554 w 1037492"/>
                <a:gd name="connsiteY13" fmla="*/ 293077 h 650631"/>
                <a:gd name="connsiteX14" fmla="*/ 404446 w 1037492"/>
                <a:gd name="connsiteY14" fmla="*/ 275492 h 650631"/>
                <a:gd name="connsiteX15" fmla="*/ 433754 w 1037492"/>
                <a:gd name="connsiteY15" fmla="*/ 246184 h 650631"/>
                <a:gd name="connsiteX16" fmla="*/ 457200 w 1037492"/>
                <a:gd name="connsiteY16" fmla="*/ 228600 h 650631"/>
                <a:gd name="connsiteX17" fmla="*/ 515815 w 1037492"/>
                <a:gd name="connsiteY17" fmla="*/ 199292 h 650631"/>
                <a:gd name="connsiteX18" fmla="*/ 539261 w 1037492"/>
                <a:gd name="connsiteY18" fmla="*/ 187569 h 650631"/>
                <a:gd name="connsiteX19" fmla="*/ 580292 w 1037492"/>
                <a:gd name="connsiteY19" fmla="*/ 175846 h 650631"/>
                <a:gd name="connsiteX20" fmla="*/ 615461 w 1037492"/>
                <a:gd name="connsiteY20" fmla="*/ 158261 h 650631"/>
                <a:gd name="connsiteX21" fmla="*/ 638907 w 1037492"/>
                <a:gd name="connsiteY21" fmla="*/ 152400 h 650631"/>
                <a:gd name="connsiteX22" fmla="*/ 662354 w 1037492"/>
                <a:gd name="connsiteY22" fmla="*/ 140677 h 650631"/>
                <a:gd name="connsiteX23" fmla="*/ 715107 w 1037492"/>
                <a:gd name="connsiteY23" fmla="*/ 111369 h 650631"/>
                <a:gd name="connsiteX24" fmla="*/ 762000 w 1037492"/>
                <a:gd name="connsiteY24" fmla="*/ 46892 h 650631"/>
                <a:gd name="connsiteX25" fmla="*/ 773723 w 1037492"/>
                <a:gd name="connsiteY25" fmla="*/ 29307 h 650631"/>
                <a:gd name="connsiteX26" fmla="*/ 820615 w 1037492"/>
                <a:gd name="connsiteY26" fmla="*/ 5861 h 650631"/>
                <a:gd name="connsiteX27" fmla="*/ 855784 w 1037492"/>
                <a:gd name="connsiteY27" fmla="*/ 0 h 650631"/>
                <a:gd name="connsiteX28" fmla="*/ 973015 w 1037492"/>
                <a:gd name="connsiteY28" fmla="*/ 11723 h 650631"/>
                <a:gd name="connsiteX29" fmla="*/ 1025769 w 1037492"/>
                <a:gd name="connsiteY29" fmla="*/ 35169 h 650631"/>
                <a:gd name="connsiteX30" fmla="*/ 1037492 w 1037492"/>
                <a:gd name="connsiteY30" fmla="*/ 64477 h 65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37492" h="650631">
                  <a:moveTo>
                    <a:pt x="0" y="650631"/>
                  </a:moveTo>
                  <a:cubicBezTo>
                    <a:pt x="3908" y="640862"/>
                    <a:pt x="8754" y="631417"/>
                    <a:pt x="11723" y="621323"/>
                  </a:cubicBezTo>
                  <a:cubicBezTo>
                    <a:pt x="63150" y="446464"/>
                    <a:pt x="5892" y="621224"/>
                    <a:pt x="41031" y="515815"/>
                  </a:cubicBezTo>
                  <a:cubicBezTo>
                    <a:pt x="42985" y="496277"/>
                    <a:pt x="44115" y="476638"/>
                    <a:pt x="46892" y="457200"/>
                  </a:cubicBezTo>
                  <a:cubicBezTo>
                    <a:pt x="48031" y="449225"/>
                    <a:pt x="48285" y="440457"/>
                    <a:pt x="52754" y="433754"/>
                  </a:cubicBezTo>
                  <a:cubicBezTo>
                    <a:pt x="61152" y="421157"/>
                    <a:pt x="81674" y="419629"/>
                    <a:pt x="93784" y="416169"/>
                  </a:cubicBezTo>
                  <a:cubicBezTo>
                    <a:pt x="99725" y="414471"/>
                    <a:pt x="105843" y="413070"/>
                    <a:pt x="111369" y="410307"/>
                  </a:cubicBezTo>
                  <a:cubicBezTo>
                    <a:pt x="117670" y="407156"/>
                    <a:pt x="122221" y="400656"/>
                    <a:pt x="128954" y="398584"/>
                  </a:cubicBezTo>
                  <a:cubicBezTo>
                    <a:pt x="147998" y="392724"/>
                    <a:pt x="168666" y="393161"/>
                    <a:pt x="187569" y="386861"/>
                  </a:cubicBezTo>
                  <a:lnTo>
                    <a:pt x="205154" y="381000"/>
                  </a:lnTo>
                  <a:cubicBezTo>
                    <a:pt x="211365" y="362365"/>
                    <a:pt x="213833" y="350720"/>
                    <a:pt x="228600" y="334107"/>
                  </a:cubicBezTo>
                  <a:cubicBezTo>
                    <a:pt x="236911" y="324756"/>
                    <a:pt x="247498" y="317601"/>
                    <a:pt x="257907" y="310661"/>
                  </a:cubicBezTo>
                  <a:cubicBezTo>
                    <a:pt x="265178" y="305814"/>
                    <a:pt x="272749" y="300456"/>
                    <a:pt x="281354" y="298938"/>
                  </a:cubicBezTo>
                  <a:cubicBezTo>
                    <a:pt x="306441" y="294511"/>
                    <a:pt x="332154" y="295031"/>
                    <a:pt x="357554" y="293077"/>
                  </a:cubicBezTo>
                  <a:cubicBezTo>
                    <a:pt x="368281" y="289501"/>
                    <a:pt x="398078" y="279950"/>
                    <a:pt x="404446" y="275492"/>
                  </a:cubicBezTo>
                  <a:cubicBezTo>
                    <a:pt x="415764" y="267569"/>
                    <a:pt x="423428" y="255363"/>
                    <a:pt x="433754" y="246184"/>
                  </a:cubicBezTo>
                  <a:cubicBezTo>
                    <a:pt x="441056" y="239694"/>
                    <a:pt x="448958" y="233845"/>
                    <a:pt x="457200" y="228600"/>
                  </a:cubicBezTo>
                  <a:cubicBezTo>
                    <a:pt x="527104" y="184116"/>
                    <a:pt x="474066" y="217185"/>
                    <a:pt x="515815" y="199292"/>
                  </a:cubicBezTo>
                  <a:cubicBezTo>
                    <a:pt x="523846" y="195850"/>
                    <a:pt x="531230" y="191011"/>
                    <a:pt x="539261" y="187569"/>
                  </a:cubicBezTo>
                  <a:cubicBezTo>
                    <a:pt x="551038" y="182522"/>
                    <a:pt x="568389" y="178822"/>
                    <a:pt x="580292" y="175846"/>
                  </a:cubicBezTo>
                  <a:cubicBezTo>
                    <a:pt x="592015" y="169984"/>
                    <a:pt x="603292" y="163129"/>
                    <a:pt x="615461" y="158261"/>
                  </a:cubicBezTo>
                  <a:cubicBezTo>
                    <a:pt x="622941" y="155269"/>
                    <a:pt x="631364" y="155228"/>
                    <a:pt x="638907" y="152400"/>
                  </a:cubicBezTo>
                  <a:cubicBezTo>
                    <a:pt x="647089" y="149332"/>
                    <a:pt x="654322" y="144119"/>
                    <a:pt x="662354" y="140677"/>
                  </a:cubicBezTo>
                  <a:cubicBezTo>
                    <a:pt x="697890" y="125447"/>
                    <a:pt x="664340" y="149444"/>
                    <a:pt x="715107" y="111369"/>
                  </a:cubicBezTo>
                  <a:cubicBezTo>
                    <a:pt x="732889" y="98033"/>
                    <a:pt x="757750" y="53268"/>
                    <a:pt x="762000" y="46892"/>
                  </a:cubicBezTo>
                  <a:cubicBezTo>
                    <a:pt x="765908" y="41030"/>
                    <a:pt x="767861" y="33215"/>
                    <a:pt x="773723" y="29307"/>
                  </a:cubicBezTo>
                  <a:cubicBezTo>
                    <a:pt x="792308" y="16917"/>
                    <a:pt x="796348" y="12479"/>
                    <a:pt x="820615" y="5861"/>
                  </a:cubicBezTo>
                  <a:cubicBezTo>
                    <a:pt x="832081" y="2734"/>
                    <a:pt x="844061" y="1954"/>
                    <a:pt x="855784" y="0"/>
                  </a:cubicBezTo>
                  <a:cubicBezTo>
                    <a:pt x="874067" y="1306"/>
                    <a:pt x="943573" y="3693"/>
                    <a:pt x="973015" y="11723"/>
                  </a:cubicBezTo>
                  <a:cubicBezTo>
                    <a:pt x="989482" y="16214"/>
                    <a:pt x="1010313" y="27441"/>
                    <a:pt x="1025769" y="35169"/>
                  </a:cubicBezTo>
                  <a:cubicBezTo>
                    <a:pt x="1033013" y="56899"/>
                    <a:pt x="1028868" y="47227"/>
                    <a:pt x="1037492" y="6447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6BEAAD79-6678-F99B-A7B8-16C7E0E3022D}"/>
                </a:ext>
              </a:extLst>
            </p:cNvPr>
            <p:cNvSpPr/>
            <p:nvPr/>
          </p:nvSpPr>
          <p:spPr bwMode="gray">
            <a:xfrm>
              <a:off x="6004235" y="3816234"/>
              <a:ext cx="27407" cy="155129"/>
            </a:xfrm>
            <a:custGeom>
              <a:avLst/>
              <a:gdLst>
                <a:gd name="connsiteX0" fmla="*/ 29904 w 36245"/>
                <a:gd name="connsiteY0" fmla="*/ 0 h 205154"/>
                <a:gd name="connsiteX1" fmla="*/ 12320 w 36245"/>
                <a:gd name="connsiteY1" fmla="*/ 29307 h 205154"/>
                <a:gd name="connsiteX2" fmla="*/ 596 w 36245"/>
                <a:gd name="connsiteY2" fmla="*/ 46892 h 205154"/>
                <a:gd name="connsiteX3" fmla="*/ 6458 w 36245"/>
                <a:gd name="connsiteY3" fmla="*/ 117231 h 205154"/>
                <a:gd name="connsiteX4" fmla="*/ 24043 w 36245"/>
                <a:gd name="connsiteY4" fmla="*/ 134815 h 205154"/>
                <a:gd name="connsiteX5" fmla="*/ 35766 w 36245"/>
                <a:gd name="connsiteY5" fmla="*/ 175846 h 205154"/>
                <a:gd name="connsiteX6" fmla="*/ 35766 w 36245"/>
                <a:gd name="connsiteY6" fmla="*/ 205154 h 20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45" h="205154">
                  <a:moveTo>
                    <a:pt x="29904" y="0"/>
                  </a:moveTo>
                  <a:cubicBezTo>
                    <a:pt x="24043" y="9769"/>
                    <a:pt x="18358" y="19646"/>
                    <a:pt x="12320" y="29307"/>
                  </a:cubicBezTo>
                  <a:cubicBezTo>
                    <a:pt x="8586" y="35281"/>
                    <a:pt x="1065" y="39863"/>
                    <a:pt x="596" y="46892"/>
                  </a:cubicBezTo>
                  <a:cubicBezTo>
                    <a:pt x="-969" y="70367"/>
                    <a:pt x="396" y="94498"/>
                    <a:pt x="6458" y="117231"/>
                  </a:cubicBezTo>
                  <a:cubicBezTo>
                    <a:pt x="8594" y="125241"/>
                    <a:pt x="18181" y="128954"/>
                    <a:pt x="24043" y="134815"/>
                  </a:cubicBezTo>
                  <a:cubicBezTo>
                    <a:pt x="27746" y="145926"/>
                    <a:pt x="34540" y="164811"/>
                    <a:pt x="35766" y="175846"/>
                  </a:cubicBezTo>
                  <a:cubicBezTo>
                    <a:pt x="36845" y="185556"/>
                    <a:pt x="35766" y="195385"/>
                    <a:pt x="35766" y="205154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D50204E3-BB14-55D6-E455-4CBEFF2C00AF}"/>
                </a:ext>
              </a:extLst>
            </p:cNvPr>
            <p:cNvSpPr/>
            <p:nvPr/>
          </p:nvSpPr>
          <p:spPr bwMode="gray">
            <a:xfrm>
              <a:off x="6873410" y="3971364"/>
              <a:ext cx="558466" cy="257071"/>
            </a:xfrm>
            <a:custGeom>
              <a:avLst/>
              <a:gdLst>
                <a:gd name="connsiteX0" fmla="*/ 0 w 738554"/>
                <a:gd name="connsiteY0" fmla="*/ 339969 h 339969"/>
                <a:gd name="connsiteX1" fmla="*/ 5862 w 738554"/>
                <a:gd name="connsiteY1" fmla="*/ 310661 h 339969"/>
                <a:gd name="connsiteX2" fmla="*/ 23446 w 738554"/>
                <a:gd name="connsiteY2" fmla="*/ 281353 h 339969"/>
                <a:gd name="connsiteX3" fmla="*/ 35169 w 738554"/>
                <a:gd name="connsiteY3" fmla="*/ 263769 h 339969"/>
                <a:gd name="connsiteX4" fmla="*/ 52754 w 738554"/>
                <a:gd name="connsiteY4" fmla="*/ 252046 h 339969"/>
                <a:gd name="connsiteX5" fmla="*/ 146538 w 738554"/>
                <a:gd name="connsiteY5" fmla="*/ 234461 h 339969"/>
                <a:gd name="connsiteX6" fmla="*/ 193431 w 738554"/>
                <a:gd name="connsiteY6" fmla="*/ 228600 h 339969"/>
                <a:gd name="connsiteX7" fmla="*/ 234462 w 738554"/>
                <a:gd name="connsiteY7" fmla="*/ 211015 h 339969"/>
                <a:gd name="connsiteX8" fmla="*/ 316523 w 738554"/>
                <a:gd name="connsiteY8" fmla="*/ 187569 h 339969"/>
                <a:gd name="connsiteX9" fmla="*/ 357554 w 738554"/>
                <a:gd name="connsiteY9" fmla="*/ 169984 h 339969"/>
                <a:gd name="connsiteX10" fmla="*/ 404446 w 738554"/>
                <a:gd name="connsiteY10" fmla="*/ 158261 h 339969"/>
                <a:gd name="connsiteX11" fmla="*/ 433754 w 738554"/>
                <a:gd name="connsiteY11" fmla="*/ 146538 h 339969"/>
                <a:gd name="connsiteX12" fmla="*/ 486508 w 738554"/>
                <a:gd name="connsiteY12" fmla="*/ 140677 h 339969"/>
                <a:gd name="connsiteX13" fmla="*/ 521677 w 738554"/>
                <a:gd name="connsiteY13" fmla="*/ 123092 h 339969"/>
                <a:gd name="connsiteX14" fmla="*/ 539262 w 738554"/>
                <a:gd name="connsiteY14" fmla="*/ 111369 h 339969"/>
                <a:gd name="connsiteX15" fmla="*/ 580292 w 738554"/>
                <a:gd name="connsiteY15" fmla="*/ 99646 h 339969"/>
                <a:gd name="connsiteX16" fmla="*/ 633046 w 738554"/>
                <a:gd name="connsiteY16" fmla="*/ 64477 h 339969"/>
                <a:gd name="connsiteX17" fmla="*/ 650631 w 738554"/>
                <a:gd name="connsiteY17" fmla="*/ 52753 h 339969"/>
                <a:gd name="connsiteX18" fmla="*/ 679938 w 738554"/>
                <a:gd name="connsiteY18" fmla="*/ 29307 h 339969"/>
                <a:gd name="connsiteX19" fmla="*/ 697523 w 738554"/>
                <a:gd name="connsiteY19" fmla="*/ 23446 h 339969"/>
                <a:gd name="connsiteX20" fmla="*/ 726831 w 738554"/>
                <a:gd name="connsiteY20" fmla="*/ 5861 h 339969"/>
                <a:gd name="connsiteX21" fmla="*/ 738554 w 738554"/>
                <a:gd name="connsiteY21" fmla="*/ 0 h 339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38554" h="339969">
                  <a:moveTo>
                    <a:pt x="0" y="339969"/>
                  </a:moveTo>
                  <a:cubicBezTo>
                    <a:pt x="1954" y="330200"/>
                    <a:pt x="2162" y="319911"/>
                    <a:pt x="5862" y="310661"/>
                  </a:cubicBezTo>
                  <a:cubicBezTo>
                    <a:pt x="10093" y="300083"/>
                    <a:pt x="17408" y="291014"/>
                    <a:pt x="23446" y="281353"/>
                  </a:cubicBezTo>
                  <a:cubicBezTo>
                    <a:pt x="27180" y="275379"/>
                    <a:pt x="30188" y="268750"/>
                    <a:pt x="35169" y="263769"/>
                  </a:cubicBezTo>
                  <a:cubicBezTo>
                    <a:pt x="40151" y="258788"/>
                    <a:pt x="46453" y="255196"/>
                    <a:pt x="52754" y="252046"/>
                  </a:cubicBezTo>
                  <a:cubicBezTo>
                    <a:pt x="90927" y="232960"/>
                    <a:pt x="94498" y="239939"/>
                    <a:pt x="146538" y="234461"/>
                  </a:cubicBezTo>
                  <a:cubicBezTo>
                    <a:pt x="162204" y="232812"/>
                    <a:pt x="177800" y="230554"/>
                    <a:pt x="193431" y="228600"/>
                  </a:cubicBezTo>
                  <a:cubicBezTo>
                    <a:pt x="250050" y="209725"/>
                    <a:pt x="162006" y="239997"/>
                    <a:pt x="234462" y="211015"/>
                  </a:cubicBezTo>
                  <a:cubicBezTo>
                    <a:pt x="290919" y="188432"/>
                    <a:pt x="249815" y="209805"/>
                    <a:pt x="316523" y="187569"/>
                  </a:cubicBezTo>
                  <a:cubicBezTo>
                    <a:pt x="330640" y="182863"/>
                    <a:pt x="343437" y="174690"/>
                    <a:pt x="357554" y="169984"/>
                  </a:cubicBezTo>
                  <a:cubicBezTo>
                    <a:pt x="372839" y="164889"/>
                    <a:pt x="389047" y="162999"/>
                    <a:pt x="404446" y="158261"/>
                  </a:cubicBezTo>
                  <a:cubicBezTo>
                    <a:pt x="414503" y="155167"/>
                    <a:pt x="423466" y="148743"/>
                    <a:pt x="433754" y="146538"/>
                  </a:cubicBezTo>
                  <a:cubicBezTo>
                    <a:pt x="451054" y="142831"/>
                    <a:pt x="468923" y="142631"/>
                    <a:pt x="486508" y="140677"/>
                  </a:cubicBezTo>
                  <a:cubicBezTo>
                    <a:pt x="536887" y="107087"/>
                    <a:pt x="473154" y="147352"/>
                    <a:pt x="521677" y="123092"/>
                  </a:cubicBezTo>
                  <a:cubicBezTo>
                    <a:pt x="527978" y="119942"/>
                    <a:pt x="532787" y="114144"/>
                    <a:pt x="539262" y="111369"/>
                  </a:cubicBezTo>
                  <a:cubicBezTo>
                    <a:pt x="565537" y="100108"/>
                    <a:pt x="557493" y="111046"/>
                    <a:pt x="580292" y="99646"/>
                  </a:cubicBezTo>
                  <a:cubicBezTo>
                    <a:pt x="606714" y="86435"/>
                    <a:pt x="610143" y="80836"/>
                    <a:pt x="633046" y="64477"/>
                  </a:cubicBezTo>
                  <a:cubicBezTo>
                    <a:pt x="638779" y="60382"/>
                    <a:pt x="644995" y="56980"/>
                    <a:pt x="650631" y="52753"/>
                  </a:cubicBezTo>
                  <a:cubicBezTo>
                    <a:pt x="660639" y="45247"/>
                    <a:pt x="669329" y="35937"/>
                    <a:pt x="679938" y="29307"/>
                  </a:cubicBezTo>
                  <a:cubicBezTo>
                    <a:pt x="685178" y="26032"/>
                    <a:pt x="691997" y="26209"/>
                    <a:pt x="697523" y="23446"/>
                  </a:cubicBezTo>
                  <a:cubicBezTo>
                    <a:pt x="707713" y="18351"/>
                    <a:pt x="716939" y="11513"/>
                    <a:pt x="726831" y="5861"/>
                  </a:cubicBezTo>
                  <a:cubicBezTo>
                    <a:pt x="730624" y="3693"/>
                    <a:pt x="734646" y="1954"/>
                    <a:pt x="738554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1A7BF6EB-8DC5-97BC-164A-5306BD2A6351}"/>
                </a:ext>
              </a:extLst>
            </p:cNvPr>
            <p:cNvSpPr/>
            <p:nvPr/>
          </p:nvSpPr>
          <p:spPr bwMode="gray">
            <a:xfrm>
              <a:off x="7201398" y="4937597"/>
              <a:ext cx="558466" cy="88645"/>
            </a:xfrm>
            <a:custGeom>
              <a:avLst/>
              <a:gdLst>
                <a:gd name="connsiteX0" fmla="*/ 0 w 738554"/>
                <a:gd name="connsiteY0" fmla="*/ 0 h 117231"/>
                <a:gd name="connsiteX1" fmla="*/ 193431 w 738554"/>
                <a:gd name="connsiteY1" fmla="*/ 17585 h 117231"/>
                <a:gd name="connsiteX2" fmla="*/ 263769 w 738554"/>
                <a:gd name="connsiteY2" fmla="*/ 58615 h 117231"/>
                <a:gd name="connsiteX3" fmla="*/ 298938 w 738554"/>
                <a:gd name="connsiteY3" fmla="*/ 70338 h 117231"/>
                <a:gd name="connsiteX4" fmla="*/ 357554 w 738554"/>
                <a:gd name="connsiteY4" fmla="*/ 87923 h 117231"/>
                <a:gd name="connsiteX5" fmla="*/ 422031 w 738554"/>
                <a:gd name="connsiteY5" fmla="*/ 93785 h 117231"/>
                <a:gd name="connsiteX6" fmla="*/ 568569 w 738554"/>
                <a:gd name="connsiteY6" fmla="*/ 111369 h 117231"/>
                <a:gd name="connsiteX7" fmla="*/ 603738 w 738554"/>
                <a:gd name="connsiteY7" fmla="*/ 117231 h 117231"/>
                <a:gd name="connsiteX8" fmla="*/ 738554 w 738554"/>
                <a:gd name="connsiteY8" fmla="*/ 111369 h 11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8554" h="117231">
                  <a:moveTo>
                    <a:pt x="0" y="0"/>
                  </a:moveTo>
                  <a:cubicBezTo>
                    <a:pt x="64477" y="5862"/>
                    <a:pt x="129832" y="5471"/>
                    <a:pt x="193431" y="17585"/>
                  </a:cubicBezTo>
                  <a:cubicBezTo>
                    <a:pt x="253406" y="29009"/>
                    <a:pt x="229074" y="43195"/>
                    <a:pt x="263769" y="58615"/>
                  </a:cubicBezTo>
                  <a:cubicBezTo>
                    <a:pt x="275061" y="63634"/>
                    <a:pt x="287465" y="65748"/>
                    <a:pt x="298938" y="70338"/>
                  </a:cubicBezTo>
                  <a:cubicBezTo>
                    <a:pt x="326087" y="81198"/>
                    <a:pt x="328731" y="84320"/>
                    <a:pt x="357554" y="87923"/>
                  </a:cubicBezTo>
                  <a:cubicBezTo>
                    <a:pt x="378968" y="90600"/>
                    <a:pt x="400539" y="91831"/>
                    <a:pt x="422031" y="93785"/>
                  </a:cubicBezTo>
                  <a:cubicBezTo>
                    <a:pt x="489356" y="116226"/>
                    <a:pt x="372025" y="78609"/>
                    <a:pt x="568569" y="111369"/>
                  </a:cubicBezTo>
                  <a:lnTo>
                    <a:pt x="603738" y="117231"/>
                  </a:lnTo>
                  <a:cubicBezTo>
                    <a:pt x="699419" y="109870"/>
                    <a:pt x="654463" y="111369"/>
                    <a:pt x="738554" y="111369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89B0C56-0E57-9EB5-0D8D-EA899B5C5CC4}"/>
                </a:ext>
              </a:extLst>
            </p:cNvPr>
            <p:cNvSpPr/>
            <p:nvPr/>
          </p:nvSpPr>
          <p:spPr bwMode="gray">
            <a:xfrm>
              <a:off x="6496668" y="4968623"/>
              <a:ext cx="1928036" cy="452091"/>
            </a:xfrm>
            <a:custGeom>
              <a:avLst/>
              <a:gdLst>
                <a:gd name="connsiteX0" fmla="*/ 0 w 2549769"/>
                <a:gd name="connsiteY0" fmla="*/ 0 h 597877"/>
                <a:gd name="connsiteX1" fmla="*/ 46893 w 2549769"/>
                <a:gd name="connsiteY1" fmla="*/ 35169 h 597877"/>
                <a:gd name="connsiteX2" fmla="*/ 64477 w 2549769"/>
                <a:gd name="connsiteY2" fmla="*/ 46892 h 597877"/>
                <a:gd name="connsiteX3" fmla="*/ 123093 w 2549769"/>
                <a:gd name="connsiteY3" fmla="*/ 99646 h 597877"/>
                <a:gd name="connsiteX4" fmla="*/ 169985 w 2549769"/>
                <a:gd name="connsiteY4" fmla="*/ 128954 h 597877"/>
                <a:gd name="connsiteX5" fmla="*/ 322385 w 2549769"/>
                <a:gd name="connsiteY5" fmla="*/ 146538 h 597877"/>
                <a:gd name="connsiteX6" fmla="*/ 363416 w 2549769"/>
                <a:gd name="connsiteY6" fmla="*/ 152400 h 597877"/>
                <a:gd name="connsiteX7" fmla="*/ 509954 w 2549769"/>
                <a:gd name="connsiteY7" fmla="*/ 158261 h 597877"/>
                <a:gd name="connsiteX8" fmla="*/ 550985 w 2549769"/>
                <a:gd name="connsiteY8" fmla="*/ 169984 h 597877"/>
                <a:gd name="connsiteX9" fmla="*/ 574431 w 2549769"/>
                <a:gd name="connsiteY9" fmla="*/ 175846 h 597877"/>
                <a:gd name="connsiteX10" fmla="*/ 603739 w 2549769"/>
                <a:gd name="connsiteY10" fmla="*/ 193431 h 597877"/>
                <a:gd name="connsiteX11" fmla="*/ 650631 w 2549769"/>
                <a:gd name="connsiteY11" fmla="*/ 211015 h 597877"/>
                <a:gd name="connsiteX12" fmla="*/ 674077 w 2549769"/>
                <a:gd name="connsiteY12" fmla="*/ 228600 h 597877"/>
                <a:gd name="connsiteX13" fmla="*/ 709246 w 2549769"/>
                <a:gd name="connsiteY13" fmla="*/ 252046 h 597877"/>
                <a:gd name="connsiteX14" fmla="*/ 750277 w 2549769"/>
                <a:gd name="connsiteY14" fmla="*/ 287215 h 597877"/>
                <a:gd name="connsiteX15" fmla="*/ 767862 w 2549769"/>
                <a:gd name="connsiteY15" fmla="*/ 304800 h 597877"/>
                <a:gd name="connsiteX16" fmla="*/ 826477 w 2549769"/>
                <a:gd name="connsiteY16" fmla="*/ 357554 h 597877"/>
                <a:gd name="connsiteX17" fmla="*/ 844062 w 2549769"/>
                <a:gd name="connsiteY17" fmla="*/ 375138 h 597877"/>
                <a:gd name="connsiteX18" fmla="*/ 967154 w 2549769"/>
                <a:gd name="connsiteY18" fmla="*/ 386861 h 597877"/>
                <a:gd name="connsiteX19" fmla="*/ 996462 w 2549769"/>
                <a:gd name="connsiteY19" fmla="*/ 404446 h 597877"/>
                <a:gd name="connsiteX20" fmla="*/ 1014046 w 2549769"/>
                <a:gd name="connsiteY20" fmla="*/ 410307 h 597877"/>
                <a:gd name="connsiteX21" fmla="*/ 1137139 w 2549769"/>
                <a:gd name="connsiteY21" fmla="*/ 416169 h 597877"/>
                <a:gd name="connsiteX22" fmla="*/ 1184031 w 2549769"/>
                <a:gd name="connsiteY22" fmla="*/ 433754 h 597877"/>
                <a:gd name="connsiteX23" fmla="*/ 1219200 w 2549769"/>
                <a:gd name="connsiteY23" fmla="*/ 451338 h 597877"/>
                <a:gd name="connsiteX24" fmla="*/ 1271954 w 2549769"/>
                <a:gd name="connsiteY24" fmla="*/ 457200 h 597877"/>
                <a:gd name="connsiteX25" fmla="*/ 1289539 w 2549769"/>
                <a:gd name="connsiteY25" fmla="*/ 468923 h 597877"/>
                <a:gd name="connsiteX26" fmla="*/ 1330569 w 2549769"/>
                <a:gd name="connsiteY26" fmla="*/ 474784 h 597877"/>
                <a:gd name="connsiteX27" fmla="*/ 1348154 w 2549769"/>
                <a:gd name="connsiteY27" fmla="*/ 480646 h 597877"/>
                <a:gd name="connsiteX28" fmla="*/ 1430216 w 2549769"/>
                <a:gd name="connsiteY28" fmla="*/ 521677 h 597877"/>
                <a:gd name="connsiteX29" fmla="*/ 1670539 w 2549769"/>
                <a:gd name="connsiteY29" fmla="*/ 556846 h 597877"/>
                <a:gd name="connsiteX30" fmla="*/ 1723293 w 2549769"/>
                <a:gd name="connsiteY30" fmla="*/ 574431 h 597877"/>
                <a:gd name="connsiteX31" fmla="*/ 1752600 w 2549769"/>
                <a:gd name="connsiteY31" fmla="*/ 592015 h 597877"/>
                <a:gd name="connsiteX32" fmla="*/ 1805354 w 2549769"/>
                <a:gd name="connsiteY32" fmla="*/ 597877 h 597877"/>
                <a:gd name="connsiteX33" fmla="*/ 1869831 w 2549769"/>
                <a:gd name="connsiteY33" fmla="*/ 592015 h 597877"/>
                <a:gd name="connsiteX34" fmla="*/ 1887416 w 2549769"/>
                <a:gd name="connsiteY34" fmla="*/ 586154 h 597877"/>
                <a:gd name="connsiteX35" fmla="*/ 2069123 w 2549769"/>
                <a:gd name="connsiteY35" fmla="*/ 574431 h 597877"/>
                <a:gd name="connsiteX36" fmla="*/ 2092569 w 2549769"/>
                <a:gd name="connsiteY36" fmla="*/ 562707 h 597877"/>
                <a:gd name="connsiteX37" fmla="*/ 2121877 w 2549769"/>
                <a:gd name="connsiteY37" fmla="*/ 556846 h 597877"/>
                <a:gd name="connsiteX38" fmla="*/ 2262554 w 2549769"/>
                <a:gd name="connsiteY38" fmla="*/ 550984 h 597877"/>
                <a:gd name="connsiteX39" fmla="*/ 2291862 w 2549769"/>
                <a:gd name="connsiteY39" fmla="*/ 545123 h 597877"/>
                <a:gd name="connsiteX40" fmla="*/ 2321169 w 2549769"/>
                <a:gd name="connsiteY40" fmla="*/ 527538 h 597877"/>
                <a:gd name="connsiteX41" fmla="*/ 2385646 w 2549769"/>
                <a:gd name="connsiteY41" fmla="*/ 521677 h 597877"/>
                <a:gd name="connsiteX42" fmla="*/ 2438400 w 2549769"/>
                <a:gd name="connsiteY42" fmla="*/ 515815 h 597877"/>
                <a:gd name="connsiteX43" fmla="*/ 2461846 w 2549769"/>
                <a:gd name="connsiteY43" fmla="*/ 492369 h 597877"/>
                <a:gd name="connsiteX44" fmla="*/ 2549769 w 2549769"/>
                <a:gd name="connsiteY44" fmla="*/ 468923 h 59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549769" h="597877">
                  <a:moveTo>
                    <a:pt x="0" y="0"/>
                  </a:moveTo>
                  <a:cubicBezTo>
                    <a:pt x="52676" y="21070"/>
                    <a:pt x="9720" y="-2004"/>
                    <a:pt x="46893" y="35169"/>
                  </a:cubicBezTo>
                  <a:cubicBezTo>
                    <a:pt x="51874" y="40150"/>
                    <a:pt x="59212" y="42212"/>
                    <a:pt x="64477" y="46892"/>
                  </a:cubicBezTo>
                  <a:cubicBezTo>
                    <a:pt x="140209" y="114210"/>
                    <a:pt x="66551" y="57240"/>
                    <a:pt x="123093" y="99646"/>
                  </a:cubicBezTo>
                  <a:cubicBezTo>
                    <a:pt x="143116" y="129682"/>
                    <a:pt x="125596" y="111199"/>
                    <a:pt x="169985" y="128954"/>
                  </a:cubicBezTo>
                  <a:cubicBezTo>
                    <a:pt x="249385" y="160714"/>
                    <a:pt x="98682" y="136371"/>
                    <a:pt x="322385" y="146538"/>
                  </a:cubicBezTo>
                  <a:cubicBezTo>
                    <a:pt x="336062" y="148492"/>
                    <a:pt x="349627" y="151538"/>
                    <a:pt x="363416" y="152400"/>
                  </a:cubicBezTo>
                  <a:cubicBezTo>
                    <a:pt x="412206" y="155449"/>
                    <a:pt x="461282" y="153698"/>
                    <a:pt x="509954" y="158261"/>
                  </a:cubicBezTo>
                  <a:cubicBezTo>
                    <a:pt x="524116" y="159589"/>
                    <a:pt x="537262" y="166241"/>
                    <a:pt x="550985" y="169984"/>
                  </a:cubicBezTo>
                  <a:cubicBezTo>
                    <a:pt x="558757" y="172104"/>
                    <a:pt x="566616" y="173892"/>
                    <a:pt x="574431" y="175846"/>
                  </a:cubicBezTo>
                  <a:cubicBezTo>
                    <a:pt x="584200" y="181708"/>
                    <a:pt x="593549" y="188336"/>
                    <a:pt x="603739" y="193431"/>
                  </a:cubicBezTo>
                  <a:cubicBezTo>
                    <a:pt x="656388" y="219756"/>
                    <a:pt x="572869" y="167813"/>
                    <a:pt x="650631" y="211015"/>
                  </a:cubicBezTo>
                  <a:cubicBezTo>
                    <a:pt x="659171" y="215759"/>
                    <a:pt x="666074" y="222998"/>
                    <a:pt x="674077" y="228600"/>
                  </a:cubicBezTo>
                  <a:cubicBezTo>
                    <a:pt x="685619" y="236680"/>
                    <a:pt x="699283" y="242083"/>
                    <a:pt x="709246" y="252046"/>
                  </a:cubicBezTo>
                  <a:cubicBezTo>
                    <a:pt x="752881" y="295681"/>
                    <a:pt x="697640" y="242098"/>
                    <a:pt x="750277" y="287215"/>
                  </a:cubicBezTo>
                  <a:cubicBezTo>
                    <a:pt x="756571" y="292610"/>
                    <a:pt x="761623" y="299341"/>
                    <a:pt x="767862" y="304800"/>
                  </a:cubicBezTo>
                  <a:cubicBezTo>
                    <a:pt x="832026" y="360944"/>
                    <a:pt x="761743" y="292821"/>
                    <a:pt x="826477" y="357554"/>
                  </a:cubicBezTo>
                  <a:cubicBezTo>
                    <a:pt x="832339" y="363415"/>
                    <a:pt x="835934" y="373512"/>
                    <a:pt x="844062" y="375138"/>
                  </a:cubicBezTo>
                  <a:cubicBezTo>
                    <a:pt x="904083" y="387143"/>
                    <a:pt x="863426" y="380379"/>
                    <a:pt x="967154" y="386861"/>
                  </a:cubicBezTo>
                  <a:cubicBezTo>
                    <a:pt x="976923" y="392723"/>
                    <a:pt x="986272" y="399351"/>
                    <a:pt x="996462" y="404446"/>
                  </a:cubicBezTo>
                  <a:cubicBezTo>
                    <a:pt x="1001988" y="407209"/>
                    <a:pt x="1007889" y="409794"/>
                    <a:pt x="1014046" y="410307"/>
                  </a:cubicBezTo>
                  <a:cubicBezTo>
                    <a:pt x="1054982" y="413718"/>
                    <a:pt x="1096108" y="414215"/>
                    <a:pt x="1137139" y="416169"/>
                  </a:cubicBezTo>
                  <a:cubicBezTo>
                    <a:pt x="1155442" y="422271"/>
                    <a:pt x="1164762" y="424995"/>
                    <a:pt x="1184031" y="433754"/>
                  </a:cubicBezTo>
                  <a:cubicBezTo>
                    <a:pt x="1195963" y="439177"/>
                    <a:pt x="1206536" y="447961"/>
                    <a:pt x="1219200" y="451338"/>
                  </a:cubicBezTo>
                  <a:cubicBezTo>
                    <a:pt x="1236296" y="455897"/>
                    <a:pt x="1254369" y="455246"/>
                    <a:pt x="1271954" y="457200"/>
                  </a:cubicBezTo>
                  <a:cubicBezTo>
                    <a:pt x="1277816" y="461108"/>
                    <a:pt x="1282791" y="466899"/>
                    <a:pt x="1289539" y="468923"/>
                  </a:cubicBezTo>
                  <a:cubicBezTo>
                    <a:pt x="1302772" y="472893"/>
                    <a:pt x="1317022" y="472075"/>
                    <a:pt x="1330569" y="474784"/>
                  </a:cubicBezTo>
                  <a:cubicBezTo>
                    <a:pt x="1336628" y="475996"/>
                    <a:pt x="1342292" y="478692"/>
                    <a:pt x="1348154" y="480646"/>
                  </a:cubicBezTo>
                  <a:cubicBezTo>
                    <a:pt x="1403434" y="526714"/>
                    <a:pt x="1360353" y="499448"/>
                    <a:pt x="1430216" y="521677"/>
                  </a:cubicBezTo>
                  <a:cubicBezTo>
                    <a:pt x="1580254" y="569415"/>
                    <a:pt x="1450060" y="548679"/>
                    <a:pt x="1670539" y="556846"/>
                  </a:cubicBezTo>
                  <a:cubicBezTo>
                    <a:pt x="1692930" y="562443"/>
                    <a:pt x="1701216" y="563392"/>
                    <a:pt x="1723293" y="574431"/>
                  </a:cubicBezTo>
                  <a:cubicBezTo>
                    <a:pt x="1733483" y="579526"/>
                    <a:pt x="1741646" y="588885"/>
                    <a:pt x="1752600" y="592015"/>
                  </a:cubicBezTo>
                  <a:cubicBezTo>
                    <a:pt x="1769612" y="596876"/>
                    <a:pt x="1787769" y="595923"/>
                    <a:pt x="1805354" y="597877"/>
                  </a:cubicBezTo>
                  <a:cubicBezTo>
                    <a:pt x="1826846" y="595923"/>
                    <a:pt x="1848467" y="595067"/>
                    <a:pt x="1869831" y="592015"/>
                  </a:cubicBezTo>
                  <a:cubicBezTo>
                    <a:pt x="1875948" y="591141"/>
                    <a:pt x="1881261" y="586697"/>
                    <a:pt x="1887416" y="586154"/>
                  </a:cubicBezTo>
                  <a:cubicBezTo>
                    <a:pt x="1947876" y="580819"/>
                    <a:pt x="2008554" y="578339"/>
                    <a:pt x="2069123" y="574431"/>
                  </a:cubicBezTo>
                  <a:cubicBezTo>
                    <a:pt x="2076938" y="570523"/>
                    <a:pt x="2084279" y="565470"/>
                    <a:pt x="2092569" y="562707"/>
                  </a:cubicBezTo>
                  <a:cubicBezTo>
                    <a:pt x="2102020" y="559556"/>
                    <a:pt x="2111938" y="557531"/>
                    <a:pt x="2121877" y="556846"/>
                  </a:cubicBezTo>
                  <a:cubicBezTo>
                    <a:pt x="2168699" y="553617"/>
                    <a:pt x="2215662" y="552938"/>
                    <a:pt x="2262554" y="550984"/>
                  </a:cubicBezTo>
                  <a:cubicBezTo>
                    <a:pt x="2272323" y="549030"/>
                    <a:pt x="2282612" y="548823"/>
                    <a:pt x="2291862" y="545123"/>
                  </a:cubicBezTo>
                  <a:cubicBezTo>
                    <a:pt x="2302440" y="540892"/>
                    <a:pt x="2310117" y="530301"/>
                    <a:pt x="2321169" y="527538"/>
                  </a:cubicBezTo>
                  <a:cubicBezTo>
                    <a:pt x="2342106" y="522304"/>
                    <a:pt x="2364172" y="523824"/>
                    <a:pt x="2385646" y="521677"/>
                  </a:cubicBezTo>
                  <a:cubicBezTo>
                    <a:pt x="2403251" y="519917"/>
                    <a:pt x="2420815" y="517769"/>
                    <a:pt x="2438400" y="515815"/>
                  </a:cubicBezTo>
                  <a:cubicBezTo>
                    <a:pt x="2446215" y="508000"/>
                    <a:pt x="2451243" y="495488"/>
                    <a:pt x="2461846" y="492369"/>
                  </a:cubicBezTo>
                  <a:cubicBezTo>
                    <a:pt x="2560060" y="463482"/>
                    <a:pt x="2519770" y="513921"/>
                    <a:pt x="2549769" y="46892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1D2E462C-12EC-A584-B9E1-0DABB5A4B414}"/>
                </a:ext>
              </a:extLst>
            </p:cNvPr>
            <p:cNvSpPr/>
            <p:nvPr/>
          </p:nvSpPr>
          <p:spPr bwMode="gray">
            <a:xfrm>
              <a:off x="7267882" y="5394120"/>
              <a:ext cx="403408" cy="203884"/>
            </a:xfrm>
            <a:custGeom>
              <a:avLst/>
              <a:gdLst>
                <a:gd name="connsiteX0" fmla="*/ 0 w 533495"/>
                <a:gd name="connsiteY0" fmla="*/ 269631 h 269631"/>
                <a:gd name="connsiteX1" fmla="*/ 41031 w 533495"/>
                <a:gd name="connsiteY1" fmla="*/ 228600 h 269631"/>
                <a:gd name="connsiteX2" fmla="*/ 82061 w 533495"/>
                <a:gd name="connsiteY2" fmla="*/ 181708 h 269631"/>
                <a:gd name="connsiteX3" fmla="*/ 152400 w 533495"/>
                <a:gd name="connsiteY3" fmla="*/ 158262 h 269631"/>
                <a:gd name="connsiteX4" fmla="*/ 181708 w 533495"/>
                <a:gd name="connsiteY4" fmla="*/ 146539 h 269631"/>
                <a:gd name="connsiteX5" fmla="*/ 234461 w 533495"/>
                <a:gd name="connsiteY5" fmla="*/ 140677 h 269631"/>
                <a:gd name="connsiteX6" fmla="*/ 263769 w 533495"/>
                <a:gd name="connsiteY6" fmla="*/ 134816 h 269631"/>
                <a:gd name="connsiteX7" fmla="*/ 298938 w 533495"/>
                <a:gd name="connsiteY7" fmla="*/ 128954 h 269631"/>
                <a:gd name="connsiteX8" fmla="*/ 369277 w 533495"/>
                <a:gd name="connsiteY8" fmla="*/ 105508 h 269631"/>
                <a:gd name="connsiteX9" fmla="*/ 410308 w 533495"/>
                <a:gd name="connsiteY9" fmla="*/ 93785 h 269631"/>
                <a:gd name="connsiteX10" fmla="*/ 474785 w 533495"/>
                <a:gd name="connsiteY10" fmla="*/ 35170 h 269631"/>
                <a:gd name="connsiteX11" fmla="*/ 498231 w 533495"/>
                <a:gd name="connsiteY11" fmla="*/ 23447 h 269631"/>
                <a:gd name="connsiteX12" fmla="*/ 533400 w 533495"/>
                <a:gd name="connsiteY12" fmla="*/ 0 h 26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3495" h="269631">
                  <a:moveTo>
                    <a:pt x="0" y="269631"/>
                  </a:moveTo>
                  <a:cubicBezTo>
                    <a:pt x="13677" y="255954"/>
                    <a:pt x="28537" y="243366"/>
                    <a:pt x="41031" y="228600"/>
                  </a:cubicBezTo>
                  <a:cubicBezTo>
                    <a:pt x="66820" y="198122"/>
                    <a:pt x="53536" y="195970"/>
                    <a:pt x="82061" y="181708"/>
                  </a:cubicBezTo>
                  <a:cubicBezTo>
                    <a:pt x="109875" y="167801"/>
                    <a:pt x="121125" y="168687"/>
                    <a:pt x="152400" y="158262"/>
                  </a:cubicBezTo>
                  <a:cubicBezTo>
                    <a:pt x="162382" y="154935"/>
                    <a:pt x="171420" y="148744"/>
                    <a:pt x="181708" y="146539"/>
                  </a:cubicBezTo>
                  <a:cubicBezTo>
                    <a:pt x="199008" y="142832"/>
                    <a:pt x="216946" y="143179"/>
                    <a:pt x="234461" y="140677"/>
                  </a:cubicBezTo>
                  <a:cubicBezTo>
                    <a:pt x="244324" y="139268"/>
                    <a:pt x="253967" y="136598"/>
                    <a:pt x="263769" y="134816"/>
                  </a:cubicBezTo>
                  <a:cubicBezTo>
                    <a:pt x="275462" y="132690"/>
                    <a:pt x="287358" y="131626"/>
                    <a:pt x="298938" y="128954"/>
                  </a:cubicBezTo>
                  <a:cubicBezTo>
                    <a:pt x="360048" y="114851"/>
                    <a:pt x="319393" y="122136"/>
                    <a:pt x="369277" y="105508"/>
                  </a:cubicBezTo>
                  <a:cubicBezTo>
                    <a:pt x="382771" y="101010"/>
                    <a:pt x="396631" y="97693"/>
                    <a:pt x="410308" y="93785"/>
                  </a:cubicBezTo>
                  <a:cubicBezTo>
                    <a:pt x="431928" y="72165"/>
                    <a:pt x="449431" y="52072"/>
                    <a:pt x="474785" y="35170"/>
                  </a:cubicBezTo>
                  <a:cubicBezTo>
                    <a:pt x="482055" y="30323"/>
                    <a:pt x="490118" y="26692"/>
                    <a:pt x="498231" y="23447"/>
                  </a:cubicBezTo>
                  <a:cubicBezTo>
                    <a:pt x="537107" y="7896"/>
                    <a:pt x="533400" y="24901"/>
                    <a:pt x="533400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DEA5DF55-107A-F0E9-F9E2-5FA5FAF847D1}"/>
                </a:ext>
              </a:extLst>
            </p:cNvPr>
            <p:cNvSpPr/>
            <p:nvPr/>
          </p:nvSpPr>
          <p:spPr bwMode="gray">
            <a:xfrm>
              <a:off x="7733270" y="4467777"/>
              <a:ext cx="726892" cy="84954"/>
            </a:xfrm>
            <a:custGeom>
              <a:avLst/>
              <a:gdLst>
                <a:gd name="connsiteX0" fmla="*/ 0 w 961293"/>
                <a:gd name="connsiteY0" fmla="*/ 0 h 112349"/>
                <a:gd name="connsiteX1" fmla="*/ 111370 w 961293"/>
                <a:gd name="connsiteY1" fmla="*/ 5861 h 112349"/>
                <a:gd name="connsiteX2" fmla="*/ 199293 w 961293"/>
                <a:gd name="connsiteY2" fmla="*/ 41031 h 112349"/>
                <a:gd name="connsiteX3" fmla="*/ 269631 w 961293"/>
                <a:gd name="connsiteY3" fmla="*/ 52754 h 112349"/>
                <a:gd name="connsiteX4" fmla="*/ 392724 w 961293"/>
                <a:gd name="connsiteY4" fmla="*/ 41031 h 112349"/>
                <a:gd name="connsiteX5" fmla="*/ 486508 w 961293"/>
                <a:gd name="connsiteY5" fmla="*/ 46892 h 112349"/>
                <a:gd name="connsiteX6" fmla="*/ 545124 w 961293"/>
                <a:gd name="connsiteY6" fmla="*/ 87923 h 112349"/>
                <a:gd name="connsiteX7" fmla="*/ 803031 w 961293"/>
                <a:gd name="connsiteY7" fmla="*/ 105508 h 112349"/>
                <a:gd name="connsiteX8" fmla="*/ 885093 w 961293"/>
                <a:gd name="connsiteY8" fmla="*/ 105508 h 112349"/>
                <a:gd name="connsiteX9" fmla="*/ 961293 w 961293"/>
                <a:gd name="connsiteY9" fmla="*/ 105508 h 11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1293" h="112349">
                  <a:moveTo>
                    <a:pt x="0" y="0"/>
                  </a:moveTo>
                  <a:cubicBezTo>
                    <a:pt x="37123" y="1954"/>
                    <a:pt x="74959" y="-1635"/>
                    <a:pt x="111370" y="5861"/>
                  </a:cubicBezTo>
                  <a:cubicBezTo>
                    <a:pt x="142287" y="12226"/>
                    <a:pt x="168157" y="35842"/>
                    <a:pt x="199293" y="41031"/>
                  </a:cubicBezTo>
                  <a:lnTo>
                    <a:pt x="269631" y="52754"/>
                  </a:lnTo>
                  <a:cubicBezTo>
                    <a:pt x="319345" y="42811"/>
                    <a:pt x="321405" y="41031"/>
                    <a:pt x="392724" y="41031"/>
                  </a:cubicBezTo>
                  <a:cubicBezTo>
                    <a:pt x="424046" y="41031"/>
                    <a:pt x="455247" y="44938"/>
                    <a:pt x="486508" y="46892"/>
                  </a:cubicBezTo>
                  <a:cubicBezTo>
                    <a:pt x="506047" y="60569"/>
                    <a:pt x="521659" y="83657"/>
                    <a:pt x="545124" y="87923"/>
                  </a:cubicBezTo>
                  <a:cubicBezTo>
                    <a:pt x="673066" y="111185"/>
                    <a:pt x="587766" y="98984"/>
                    <a:pt x="803031" y="105508"/>
                  </a:cubicBezTo>
                  <a:cubicBezTo>
                    <a:pt x="843745" y="119078"/>
                    <a:pt x="805188" y="108837"/>
                    <a:pt x="885093" y="105508"/>
                  </a:cubicBezTo>
                  <a:cubicBezTo>
                    <a:pt x="910471" y="104451"/>
                    <a:pt x="935893" y="105508"/>
                    <a:pt x="961293" y="105508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5CF62F57-5661-7536-C0C1-CB00A029ACF8}"/>
                </a:ext>
              </a:extLst>
            </p:cNvPr>
            <p:cNvSpPr/>
            <p:nvPr/>
          </p:nvSpPr>
          <p:spPr bwMode="gray">
            <a:xfrm>
              <a:off x="7804187" y="4356970"/>
              <a:ext cx="502116" cy="39899"/>
            </a:xfrm>
            <a:custGeom>
              <a:avLst/>
              <a:gdLst>
                <a:gd name="connsiteX0" fmla="*/ 0 w 664033"/>
                <a:gd name="connsiteY0" fmla="*/ 0 h 52766"/>
                <a:gd name="connsiteX1" fmla="*/ 240323 w 664033"/>
                <a:gd name="connsiteY1" fmla="*/ 5862 h 52766"/>
                <a:gd name="connsiteX2" fmla="*/ 263769 w 664033"/>
                <a:gd name="connsiteY2" fmla="*/ 11724 h 52766"/>
                <a:gd name="connsiteX3" fmla="*/ 310662 w 664033"/>
                <a:gd name="connsiteY3" fmla="*/ 23447 h 52766"/>
                <a:gd name="connsiteX4" fmla="*/ 339969 w 664033"/>
                <a:gd name="connsiteY4" fmla="*/ 35170 h 52766"/>
                <a:gd name="connsiteX5" fmla="*/ 638908 w 664033"/>
                <a:gd name="connsiteY5" fmla="*/ 41031 h 52766"/>
                <a:gd name="connsiteX6" fmla="*/ 656492 w 664033"/>
                <a:gd name="connsiteY6" fmla="*/ 52754 h 52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4033" h="52766">
                  <a:moveTo>
                    <a:pt x="0" y="0"/>
                  </a:moveTo>
                  <a:cubicBezTo>
                    <a:pt x="80108" y="1954"/>
                    <a:pt x="160271" y="2304"/>
                    <a:pt x="240323" y="5862"/>
                  </a:cubicBezTo>
                  <a:cubicBezTo>
                    <a:pt x="248371" y="6220"/>
                    <a:pt x="255905" y="9976"/>
                    <a:pt x="263769" y="11724"/>
                  </a:cubicBezTo>
                  <a:cubicBezTo>
                    <a:pt x="292398" y="18086"/>
                    <a:pt x="287804" y="14875"/>
                    <a:pt x="310662" y="23447"/>
                  </a:cubicBezTo>
                  <a:cubicBezTo>
                    <a:pt x="320514" y="27141"/>
                    <a:pt x="329463" y="34607"/>
                    <a:pt x="339969" y="35170"/>
                  </a:cubicBezTo>
                  <a:cubicBezTo>
                    <a:pt x="439492" y="40501"/>
                    <a:pt x="539262" y="39077"/>
                    <a:pt x="638908" y="41031"/>
                  </a:cubicBezTo>
                  <a:cubicBezTo>
                    <a:pt x="664102" y="53628"/>
                    <a:pt x="671092" y="52754"/>
                    <a:pt x="656492" y="52754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3E0DB71-190A-46FD-9FB2-761CB1C3C54B}"/>
                </a:ext>
              </a:extLst>
            </p:cNvPr>
            <p:cNvSpPr/>
            <p:nvPr/>
          </p:nvSpPr>
          <p:spPr bwMode="gray">
            <a:xfrm>
              <a:off x="6975353" y="4959629"/>
              <a:ext cx="221614" cy="150825"/>
            </a:xfrm>
            <a:custGeom>
              <a:avLst/>
              <a:gdLst>
                <a:gd name="connsiteX0" fmla="*/ 0 w 293077"/>
                <a:gd name="connsiteY0" fmla="*/ 199462 h 199462"/>
                <a:gd name="connsiteX1" fmla="*/ 23447 w 293077"/>
                <a:gd name="connsiteY1" fmla="*/ 170154 h 199462"/>
                <a:gd name="connsiteX2" fmla="*/ 41031 w 293077"/>
                <a:gd name="connsiteY2" fmla="*/ 134985 h 199462"/>
                <a:gd name="connsiteX3" fmla="*/ 64477 w 293077"/>
                <a:gd name="connsiteY3" fmla="*/ 111539 h 199462"/>
                <a:gd name="connsiteX4" fmla="*/ 76200 w 293077"/>
                <a:gd name="connsiteY4" fmla="*/ 93954 h 199462"/>
                <a:gd name="connsiteX5" fmla="*/ 93785 w 293077"/>
                <a:gd name="connsiteY5" fmla="*/ 88093 h 199462"/>
                <a:gd name="connsiteX6" fmla="*/ 181708 w 293077"/>
                <a:gd name="connsiteY6" fmla="*/ 52924 h 199462"/>
                <a:gd name="connsiteX7" fmla="*/ 211016 w 293077"/>
                <a:gd name="connsiteY7" fmla="*/ 35339 h 199462"/>
                <a:gd name="connsiteX8" fmla="*/ 228600 w 293077"/>
                <a:gd name="connsiteY8" fmla="*/ 17754 h 199462"/>
                <a:gd name="connsiteX9" fmla="*/ 287216 w 293077"/>
                <a:gd name="connsiteY9" fmla="*/ 170 h 199462"/>
                <a:gd name="connsiteX10" fmla="*/ 293077 w 293077"/>
                <a:gd name="connsiteY10" fmla="*/ 170 h 199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3077" h="199462">
                  <a:moveTo>
                    <a:pt x="0" y="199462"/>
                  </a:moveTo>
                  <a:cubicBezTo>
                    <a:pt x="7816" y="189693"/>
                    <a:pt x="16730" y="180709"/>
                    <a:pt x="23447" y="170154"/>
                  </a:cubicBezTo>
                  <a:cubicBezTo>
                    <a:pt x="30484" y="159096"/>
                    <a:pt x="33515" y="145722"/>
                    <a:pt x="41031" y="134985"/>
                  </a:cubicBezTo>
                  <a:cubicBezTo>
                    <a:pt x="47369" y="125930"/>
                    <a:pt x="57284" y="119931"/>
                    <a:pt x="64477" y="111539"/>
                  </a:cubicBezTo>
                  <a:cubicBezTo>
                    <a:pt x="69062" y="106190"/>
                    <a:pt x="70699" y="98355"/>
                    <a:pt x="76200" y="93954"/>
                  </a:cubicBezTo>
                  <a:cubicBezTo>
                    <a:pt x="81025" y="90094"/>
                    <a:pt x="88175" y="90682"/>
                    <a:pt x="93785" y="88093"/>
                  </a:cubicBezTo>
                  <a:cubicBezTo>
                    <a:pt x="171244" y="52343"/>
                    <a:pt x="126450" y="63975"/>
                    <a:pt x="181708" y="52924"/>
                  </a:cubicBezTo>
                  <a:cubicBezTo>
                    <a:pt x="191477" y="47062"/>
                    <a:pt x="201902" y="42175"/>
                    <a:pt x="211016" y="35339"/>
                  </a:cubicBezTo>
                  <a:cubicBezTo>
                    <a:pt x="217647" y="30365"/>
                    <a:pt x="221354" y="21780"/>
                    <a:pt x="228600" y="17754"/>
                  </a:cubicBezTo>
                  <a:cubicBezTo>
                    <a:pt x="237012" y="13081"/>
                    <a:pt x="274207" y="2772"/>
                    <a:pt x="287216" y="170"/>
                  </a:cubicBezTo>
                  <a:cubicBezTo>
                    <a:pt x="289132" y="-213"/>
                    <a:pt x="291123" y="170"/>
                    <a:pt x="293077" y="17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E3CFE50-F689-2628-812D-8A50ACC28779}"/>
                </a:ext>
              </a:extLst>
            </p:cNvPr>
            <p:cNvSpPr/>
            <p:nvPr/>
          </p:nvSpPr>
          <p:spPr bwMode="gray">
            <a:xfrm>
              <a:off x="7108134" y="4995216"/>
              <a:ext cx="79967" cy="150697"/>
            </a:xfrm>
            <a:custGeom>
              <a:avLst/>
              <a:gdLst>
                <a:gd name="connsiteX0" fmla="*/ 105754 w 105754"/>
                <a:gd name="connsiteY0" fmla="*/ 199292 h 199292"/>
                <a:gd name="connsiteX1" fmla="*/ 88170 w 105754"/>
                <a:gd name="connsiteY1" fmla="*/ 169985 h 199292"/>
                <a:gd name="connsiteX2" fmla="*/ 70585 w 105754"/>
                <a:gd name="connsiteY2" fmla="*/ 105508 h 199292"/>
                <a:gd name="connsiteX3" fmla="*/ 58862 w 105754"/>
                <a:gd name="connsiteY3" fmla="*/ 82062 h 199292"/>
                <a:gd name="connsiteX4" fmla="*/ 35416 w 105754"/>
                <a:gd name="connsiteY4" fmla="*/ 58615 h 199292"/>
                <a:gd name="connsiteX5" fmla="*/ 17831 w 105754"/>
                <a:gd name="connsiteY5" fmla="*/ 17585 h 199292"/>
                <a:gd name="connsiteX6" fmla="*/ 247 w 105754"/>
                <a:gd name="connsiteY6" fmla="*/ 0 h 19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754" h="199292">
                  <a:moveTo>
                    <a:pt x="105754" y="199292"/>
                  </a:moveTo>
                  <a:cubicBezTo>
                    <a:pt x="99893" y="189523"/>
                    <a:pt x="92260" y="180618"/>
                    <a:pt x="88170" y="169985"/>
                  </a:cubicBezTo>
                  <a:cubicBezTo>
                    <a:pt x="76945" y="140798"/>
                    <a:pt x="80777" y="129289"/>
                    <a:pt x="70585" y="105508"/>
                  </a:cubicBezTo>
                  <a:cubicBezTo>
                    <a:pt x="67143" y="97477"/>
                    <a:pt x="64105" y="89052"/>
                    <a:pt x="58862" y="82062"/>
                  </a:cubicBezTo>
                  <a:cubicBezTo>
                    <a:pt x="52230" y="73220"/>
                    <a:pt x="43231" y="66431"/>
                    <a:pt x="35416" y="58615"/>
                  </a:cubicBezTo>
                  <a:cubicBezTo>
                    <a:pt x="31913" y="48107"/>
                    <a:pt x="25073" y="24827"/>
                    <a:pt x="17831" y="17585"/>
                  </a:cubicBezTo>
                  <a:cubicBezTo>
                    <a:pt x="-3460" y="-3707"/>
                    <a:pt x="247" y="26879"/>
                    <a:pt x="24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31246409-10E4-2F08-F224-82C1AAB34B1F}"/>
                </a:ext>
              </a:extLst>
            </p:cNvPr>
            <p:cNvSpPr/>
            <p:nvPr/>
          </p:nvSpPr>
          <p:spPr bwMode="gray">
            <a:xfrm>
              <a:off x="7095024" y="4073305"/>
              <a:ext cx="146265" cy="84275"/>
            </a:xfrm>
            <a:custGeom>
              <a:avLst/>
              <a:gdLst>
                <a:gd name="connsiteX0" fmla="*/ 0 w 193431"/>
                <a:gd name="connsiteY0" fmla="*/ 0 h 111451"/>
                <a:gd name="connsiteX1" fmla="*/ 52754 w 193431"/>
                <a:gd name="connsiteY1" fmla="*/ 5862 h 111451"/>
                <a:gd name="connsiteX2" fmla="*/ 64477 w 193431"/>
                <a:gd name="connsiteY2" fmla="*/ 29308 h 111451"/>
                <a:gd name="connsiteX3" fmla="*/ 70338 w 193431"/>
                <a:gd name="connsiteY3" fmla="*/ 52754 h 111451"/>
                <a:gd name="connsiteX4" fmla="*/ 87923 w 193431"/>
                <a:gd name="connsiteY4" fmla="*/ 87923 h 111451"/>
                <a:gd name="connsiteX5" fmla="*/ 164123 w 193431"/>
                <a:gd name="connsiteY5" fmla="*/ 105508 h 111451"/>
                <a:gd name="connsiteX6" fmla="*/ 193431 w 193431"/>
                <a:gd name="connsiteY6" fmla="*/ 111369 h 11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3431" h="111451">
                  <a:moveTo>
                    <a:pt x="0" y="0"/>
                  </a:moveTo>
                  <a:cubicBezTo>
                    <a:pt x="17585" y="1954"/>
                    <a:pt x="36647" y="-1459"/>
                    <a:pt x="52754" y="5862"/>
                  </a:cubicBezTo>
                  <a:cubicBezTo>
                    <a:pt x="60709" y="9478"/>
                    <a:pt x="61409" y="21127"/>
                    <a:pt x="64477" y="29308"/>
                  </a:cubicBezTo>
                  <a:cubicBezTo>
                    <a:pt x="67306" y="36851"/>
                    <a:pt x="68125" y="45008"/>
                    <a:pt x="70338" y="52754"/>
                  </a:cubicBezTo>
                  <a:cubicBezTo>
                    <a:pt x="74151" y="66100"/>
                    <a:pt x="77649" y="77649"/>
                    <a:pt x="87923" y="87923"/>
                  </a:cubicBezTo>
                  <a:cubicBezTo>
                    <a:pt x="109281" y="109281"/>
                    <a:pt x="133520" y="102447"/>
                    <a:pt x="164123" y="105508"/>
                  </a:cubicBezTo>
                  <a:cubicBezTo>
                    <a:pt x="185415" y="112605"/>
                    <a:pt x="175529" y="111369"/>
                    <a:pt x="193431" y="111369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30BAAE4-2BD3-6C2C-68EF-364952CAE6AD}"/>
                </a:ext>
              </a:extLst>
            </p:cNvPr>
            <p:cNvSpPr/>
            <p:nvPr/>
          </p:nvSpPr>
          <p:spPr bwMode="gray">
            <a:xfrm>
              <a:off x="6700552" y="3315389"/>
              <a:ext cx="170665" cy="323555"/>
            </a:xfrm>
            <a:custGeom>
              <a:avLst/>
              <a:gdLst>
                <a:gd name="connsiteX0" fmla="*/ 0 w 225700"/>
                <a:gd name="connsiteY0" fmla="*/ 427892 h 427892"/>
                <a:gd name="connsiteX1" fmla="*/ 5862 w 225700"/>
                <a:gd name="connsiteY1" fmla="*/ 322385 h 427892"/>
                <a:gd name="connsiteX2" fmla="*/ 23446 w 225700"/>
                <a:gd name="connsiteY2" fmla="*/ 304800 h 427892"/>
                <a:gd name="connsiteX3" fmla="*/ 64477 w 225700"/>
                <a:gd name="connsiteY3" fmla="*/ 287215 h 427892"/>
                <a:gd name="connsiteX4" fmla="*/ 105508 w 225700"/>
                <a:gd name="connsiteY4" fmla="*/ 269631 h 427892"/>
                <a:gd name="connsiteX5" fmla="*/ 146538 w 225700"/>
                <a:gd name="connsiteY5" fmla="*/ 246185 h 427892"/>
                <a:gd name="connsiteX6" fmla="*/ 181708 w 225700"/>
                <a:gd name="connsiteY6" fmla="*/ 234461 h 427892"/>
                <a:gd name="connsiteX7" fmla="*/ 199292 w 225700"/>
                <a:gd name="connsiteY7" fmla="*/ 216877 h 427892"/>
                <a:gd name="connsiteX8" fmla="*/ 205154 w 225700"/>
                <a:gd name="connsiteY8" fmla="*/ 199292 h 427892"/>
                <a:gd name="connsiteX9" fmla="*/ 216877 w 225700"/>
                <a:gd name="connsiteY9" fmla="*/ 0 h 427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700" h="427892">
                  <a:moveTo>
                    <a:pt x="0" y="427892"/>
                  </a:moveTo>
                  <a:cubicBezTo>
                    <a:pt x="1954" y="392723"/>
                    <a:pt x="-729" y="356986"/>
                    <a:pt x="5862" y="322385"/>
                  </a:cubicBezTo>
                  <a:cubicBezTo>
                    <a:pt x="7413" y="314242"/>
                    <a:pt x="16701" y="309618"/>
                    <a:pt x="23446" y="304800"/>
                  </a:cubicBezTo>
                  <a:cubicBezTo>
                    <a:pt x="42883" y="290916"/>
                    <a:pt x="45346" y="295414"/>
                    <a:pt x="64477" y="287215"/>
                  </a:cubicBezTo>
                  <a:cubicBezTo>
                    <a:pt x="115166" y="265491"/>
                    <a:pt x="64277" y="283373"/>
                    <a:pt x="105508" y="269631"/>
                  </a:cubicBezTo>
                  <a:cubicBezTo>
                    <a:pt x="121370" y="259056"/>
                    <a:pt x="127945" y="253622"/>
                    <a:pt x="146538" y="246185"/>
                  </a:cubicBezTo>
                  <a:cubicBezTo>
                    <a:pt x="158012" y="241595"/>
                    <a:pt x="169985" y="238369"/>
                    <a:pt x="181708" y="234461"/>
                  </a:cubicBezTo>
                  <a:cubicBezTo>
                    <a:pt x="187569" y="228600"/>
                    <a:pt x="194694" y="223774"/>
                    <a:pt x="199292" y="216877"/>
                  </a:cubicBezTo>
                  <a:cubicBezTo>
                    <a:pt x="202719" y="211736"/>
                    <a:pt x="202720" y="204971"/>
                    <a:pt x="205154" y="199292"/>
                  </a:cubicBezTo>
                  <a:cubicBezTo>
                    <a:pt x="243091" y="110775"/>
                    <a:pt x="216877" y="269403"/>
                    <a:pt x="21687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A3CAF743-5214-DA0B-C054-5B0D5CFA640F}"/>
                </a:ext>
              </a:extLst>
            </p:cNvPr>
            <p:cNvSpPr/>
            <p:nvPr/>
          </p:nvSpPr>
          <p:spPr bwMode="gray">
            <a:xfrm>
              <a:off x="6718281" y="3497111"/>
              <a:ext cx="1360706" cy="346010"/>
            </a:xfrm>
            <a:custGeom>
              <a:avLst/>
              <a:gdLst>
                <a:gd name="connsiteX0" fmla="*/ 0 w 1799492"/>
                <a:gd name="connsiteY0" fmla="*/ 257908 h 457588"/>
                <a:gd name="connsiteX1" fmla="*/ 58616 w 1799492"/>
                <a:gd name="connsiteY1" fmla="*/ 287215 h 457588"/>
                <a:gd name="connsiteX2" fmla="*/ 93785 w 1799492"/>
                <a:gd name="connsiteY2" fmla="*/ 310662 h 457588"/>
                <a:gd name="connsiteX3" fmla="*/ 152400 w 1799492"/>
                <a:gd name="connsiteY3" fmla="*/ 351692 h 457588"/>
                <a:gd name="connsiteX4" fmla="*/ 169985 w 1799492"/>
                <a:gd name="connsiteY4" fmla="*/ 357554 h 457588"/>
                <a:gd name="connsiteX5" fmla="*/ 228600 w 1799492"/>
                <a:gd name="connsiteY5" fmla="*/ 381000 h 457588"/>
                <a:gd name="connsiteX6" fmla="*/ 322385 w 1799492"/>
                <a:gd name="connsiteY6" fmla="*/ 375138 h 457588"/>
                <a:gd name="connsiteX7" fmla="*/ 410308 w 1799492"/>
                <a:gd name="connsiteY7" fmla="*/ 345831 h 457588"/>
                <a:gd name="connsiteX8" fmla="*/ 463062 w 1799492"/>
                <a:gd name="connsiteY8" fmla="*/ 328246 h 457588"/>
                <a:gd name="connsiteX9" fmla="*/ 480646 w 1799492"/>
                <a:gd name="connsiteY9" fmla="*/ 322385 h 457588"/>
                <a:gd name="connsiteX10" fmla="*/ 504092 w 1799492"/>
                <a:gd name="connsiteY10" fmla="*/ 310662 h 457588"/>
                <a:gd name="connsiteX11" fmla="*/ 533400 w 1799492"/>
                <a:gd name="connsiteY11" fmla="*/ 281354 h 457588"/>
                <a:gd name="connsiteX12" fmla="*/ 550985 w 1799492"/>
                <a:gd name="connsiteY12" fmla="*/ 269631 h 457588"/>
                <a:gd name="connsiteX13" fmla="*/ 668216 w 1799492"/>
                <a:gd name="connsiteY13" fmla="*/ 263769 h 457588"/>
                <a:gd name="connsiteX14" fmla="*/ 674077 w 1799492"/>
                <a:gd name="connsiteY14" fmla="*/ 234462 h 457588"/>
                <a:gd name="connsiteX15" fmla="*/ 691662 w 1799492"/>
                <a:gd name="connsiteY15" fmla="*/ 216877 h 457588"/>
                <a:gd name="connsiteX16" fmla="*/ 756139 w 1799492"/>
                <a:gd name="connsiteY16" fmla="*/ 181708 h 457588"/>
                <a:gd name="connsiteX17" fmla="*/ 779585 w 1799492"/>
                <a:gd name="connsiteY17" fmla="*/ 169985 h 457588"/>
                <a:gd name="connsiteX18" fmla="*/ 838200 w 1799492"/>
                <a:gd name="connsiteY18" fmla="*/ 146538 h 457588"/>
                <a:gd name="connsiteX19" fmla="*/ 867508 w 1799492"/>
                <a:gd name="connsiteY19" fmla="*/ 128954 h 457588"/>
                <a:gd name="connsiteX20" fmla="*/ 908539 w 1799492"/>
                <a:gd name="connsiteY20" fmla="*/ 105508 h 457588"/>
                <a:gd name="connsiteX21" fmla="*/ 984739 w 1799492"/>
                <a:gd name="connsiteY21" fmla="*/ 70338 h 457588"/>
                <a:gd name="connsiteX22" fmla="*/ 1008185 w 1799492"/>
                <a:gd name="connsiteY22" fmla="*/ 58615 h 457588"/>
                <a:gd name="connsiteX23" fmla="*/ 1031631 w 1799492"/>
                <a:gd name="connsiteY23" fmla="*/ 35169 h 457588"/>
                <a:gd name="connsiteX24" fmla="*/ 1043354 w 1799492"/>
                <a:gd name="connsiteY24" fmla="*/ 11723 h 457588"/>
                <a:gd name="connsiteX25" fmla="*/ 1078523 w 1799492"/>
                <a:gd name="connsiteY25" fmla="*/ 0 h 457588"/>
                <a:gd name="connsiteX26" fmla="*/ 1248508 w 1799492"/>
                <a:gd name="connsiteY26" fmla="*/ 35169 h 457588"/>
                <a:gd name="connsiteX27" fmla="*/ 1260231 w 1799492"/>
                <a:gd name="connsiteY27" fmla="*/ 58615 h 457588"/>
                <a:gd name="connsiteX28" fmla="*/ 1271954 w 1799492"/>
                <a:gd name="connsiteY28" fmla="*/ 76200 h 457588"/>
                <a:gd name="connsiteX29" fmla="*/ 1354016 w 1799492"/>
                <a:gd name="connsiteY29" fmla="*/ 152400 h 457588"/>
                <a:gd name="connsiteX30" fmla="*/ 1365739 w 1799492"/>
                <a:gd name="connsiteY30" fmla="*/ 169985 h 457588"/>
                <a:gd name="connsiteX31" fmla="*/ 1406769 w 1799492"/>
                <a:gd name="connsiteY31" fmla="*/ 199292 h 457588"/>
                <a:gd name="connsiteX32" fmla="*/ 1424354 w 1799492"/>
                <a:gd name="connsiteY32" fmla="*/ 205154 h 457588"/>
                <a:gd name="connsiteX33" fmla="*/ 1477108 w 1799492"/>
                <a:gd name="connsiteY33" fmla="*/ 234462 h 457588"/>
                <a:gd name="connsiteX34" fmla="*/ 1512277 w 1799492"/>
                <a:gd name="connsiteY34" fmla="*/ 257908 h 457588"/>
                <a:gd name="connsiteX35" fmla="*/ 1576754 w 1799492"/>
                <a:gd name="connsiteY35" fmla="*/ 287215 h 457588"/>
                <a:gd name="connsiteX36" fmla="*/ 1611923 w 1799492"/>
                <a:gd name="connsiteY36" fmla="*/ 316523 h 457588"/>
                <a:gd name="connsiteX37" fmla="*/ 1688123 w 1799492"/>
                <a:gd name="connsiteY37" fmla="*/ 363415 h 457588"/>
                <a:gd name="connsiteX38" fmla="*/ 1729154 w 1799492"/>
                <a:gd name="connsiteY38" fmla="*/ 398585 h 457588"/>
                <a:gd name="connsiteX39" fmla="*/ 1764323 w 1799492"/>
                <a:gd name="connsiteY39" fmla="*/ 427892 h 457588"/>
                <a:gd name="connsiteX40" fmla="*/ 1793631 w 1799492"/>
                <a:gd name="connsiteY40" fmla="*/ 457200 h 457588"/>
                <a:gd name="connsiteX41" fmla="*/ 1799492 w 1799492"/>
                <a:gd name="connsiteY41" fmla="*/ 457200 h 45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799492" h="457588">
                  <a:moveTo>
                    <a:pt x="0" y="257908"/>
                  </a:moveTo>
                  <a:cubicBezTo>
                    <a:pt x="75563" y="318358"/>
                    <a:pt x="-13599" y="254390"/>
                    <a:pt x="58616" y="287215"/>
                  </a:cubicBezTo>
                  <a:cubicBezTo>
                    <a:pt x="71443" y="293045"/>
                    <a:pt x="82242" y="302582"/>
                    <a:pt x="93785" y="310662"/>
                  </a:cubicBezTo>
                  <a:cubicBezTo>
                    <a:pt x="117421" y="327207"/>
                    <a:pt x="125085" y="336517"/>
                    <a:pt x="152400" y="351692"/>
                  </a:cubicBezTo>
                  <a:cubicBezTo>
                    <a:pt x="157801" y="354693"/>
                    <a:pt x="164218" y="355336"/>
                    <a:pt x="169985" y="357554"/>
                  </a:cubicBezTo>
                  <a:cubicBezTo>
                    <a:pt x="189626" y="365108"/>
                    <a:pt x="209062" y="373185"/>
                    <a:pt x="228600" y="381000"/>
                  </a:cubicBezTo>
                  <a:cubicBezTo>
                    <a:pt x="259862" y="379046"/>
                    <a:pt x="291633" y="381090"/>
                    <a:pt x="322385" y="375138"/>
                  </a:cubicBezTo>
                  <a:cubicBezTo>
                    <a:pt x="352715" y="369268"/>
                    <a:pt x="380338" y="353324"/>
                    <a:pt x="410308" y="345831"/>
                  </a:cubicBezTo>
                  <a:cubicBezTo>
                    <a:pt x="449597" y="336008"/>
                    <a:pt x="418914" y="344801"/>
                    <a:pt x="463062" y="328246"/>
                  </a:cubicBezTo>
                  <a:cubicBezTo>
                    <a:pt x="468847" y="326077"/>
                    <a:pt x="474967" y="324819"/>
                    <a:pt x="480646" y="322385"/>
                  </a:cubicBezTo>
                  <a:cubicBezTo>
                    <a:pt x="488677" y="318943"/>
                    <a:pt x="497195" y="316027"/>
                    <a:pt x="504092" y="310662"/>
                  </a:cubicBezTo>
                  <a:cubicBezTo>
                    <a:pt x="514998" y="302180"/>
                    <a:pt x="521904" y="289018"/>
                    <a:pt x="533400" y="281354"/>
                  </a:cubicBezTo>
                  <a:cubicBezTo>
                    <a:pt x="539262" y="277446"/>
                    <a:pt x="543999" y="270542"/>
                    <a:pt x="550985" y="269631"/>
                  </a:cubicBezTo>
                  <a:cubicBezTo>
                    <a:pt x="589782" y="264570"/>
                    <a:pt x="629139" y="265723"/>
                    <a:pt x="668216" y="263769"/>
                  </a:cubicBezTo>
                  <a:cubicBezTo>
                    <a:pt x="670170" y="254000"/>
                    <a:pt x="669622" y="243373"/>
                    <a:pt x="674077" y="234462"/>
                  </a:cubicBezTo>
                  <a:cubicBezTo>
                    <a:pt x="677784" y="227048"/>
                    <a:pt x="685368" y="222272"/>
                    <a:pt x="691662" y="216877"/>
                  </a:cubicBezTo>
                  <a:cubicBezTo>
                    <a:pt x="719724" y="192823"/>
                    <a:pt x="717229" y="199394"/>
                    <a:pt x="756139" y="181708"/>
                  </a:cubicBezTo>
                  <a:cubicBezTo>
                    <a:pt x="764094" y="178092"/>
                    <a:pt x="771554" y="173427"/>
                    <a:pt x="779585" y="169985"/>
                  </a:cubicBezTo>
                  <a:cubicBezTo>
                    <a:pt x="798927" y="161695"/>
                    <a:pt x="820155" y="157364"/>
                    <a:pt x="838200" y="146538"/>
                  </a:cubicBezTo>
                  <a:cubicBezTo>
                    <a:pt x="847969" y="140677"/>
                    <a:pt x="857847" y="134992"/>
                    <a:pt x="867508" y="128954"/>
                  </a:cubicBezTo>
                  <a:cubicBezTo>
                    <a:pt x="890725" y="114443"/>
                    <a:pt x="880822" y="117827"/>
                    <a:pt x="908539" y="105508"/>
                  </a:cubicBezTo>
                  <a:cubicBezTo>
                    <a:pt x="990484" y="69088"/>
                    <a:pt x="867956" y="128731"/>
                    <a:pt x="984739" y="70338"/>
                  </a:cubicBezTo>
                  <a:cubicBezTo>
                    <a:pt x="992554" y="66430"/>
                    <a:pt x="1002006" y="64794"/>
                    <a:pt x="1008185" y="58615"/>
                  </a:cubicBezTo>
                  <a:cubicBezTo>
                    <a:pt x="1016000" y="50800"/>
                    <a:pt x="1024999" y="44011"/>
                    <a:pt x="1031631" y="35169"/>
                  </a:cubicBezTo>
                  <a:cubicBezTo>
                    <a:pt x="1036874" y="28179"/>
                    <a:pt x="1036364" y="16966"/>
                    <a:pt x="1043354" y="11723"/>
                  </a:cubicBezTo>
                  <a:cubicBezTo>
                    <a:pt x="1053240" y="4309"/>
                    <a:pt x="1066800" y="3908"/>
                    <a:pt x="1078523" y="0"/>
                  </a:cubicBezTo>
                  <a:cubicBezTo>
                    <a:pt x="1158021" y="3975"/>
                    <a:pt x="1191281" y="-11652"/>
                    <a:pt x="1248508" y="35169"/>
                  </a:cubicBezTo>
                  <a:cubicBezTo>
                    <a:pt x="1255271" y="40702"/>
                    <a:pt x="1255896" y="51028"/>
                    <a:pt x="1260231" y="58615"/>
                  </a:cubicBezTo>
                  <a:cubicBezTo>
                    <a:pt x="1263726" y="64732"/>
                    <a:pt x="1267215" y="70987"/>
                    <a:pt x="1271954" y="76200"/>
                  </a:cubicBezTo>
                  <a:cubicBezTo>
                    <a:pt x="1397857" y="214694"/>
                    <a:pt x="1254769" y="53153"/>
                    <a:pt x="1354016" y="152400"/>
                  </a:cubicBezTo>
                  <a:cubicBezTo>
                    <a:pt x="1358997" y="157381"/>
                    <a:pt x="1360758" y="165004"/>
                    <a:pt x="1365739" y="169985"/>
                  </a:cubicBezTo>
                  <a:cubicBezTo>
                    <a:pt x="1368392" y="172638"/>
                    <a:pt x="1400115" y="195965"/>
                    <a:pt x="1406769" y="199292"/>
                  </a:cubicBezTo>
                  <a:cubicBezTo>
                    <a:pt x="1412295" y="202055"/>
                    <a:pt x="1418492" y="203200"/>
                    <a:pt x="1424354" y="205154"/>
                  </a:cubicBezTo>
                  <a:cubicBezTo>
                    <a:pt x="1481557" y="248055"/>
                    <a:pt x="1411437" y="198641"/>
                    <a:pt x="1477108" y="234462"/>
                  </a:cubicBezTo>
                  <a:cubicBezTo>
                    <a:pt x="1489477" y="241209"/>
                    <a:pt x="1500107" y="250809"/>
                    <a:pt x="1512277" y="257908"/>
                  </a:cubicBezTo>
                  <a:cubicBezTo>
                    <a:pt x="1536592" y="272091"/>
                    <a:pt x="1551546" y="277132"/>
                    <a:pt x="1576754" y="287215"/>
                  </a:cubicBezTo>
                  <a:cubicBezTo>
                    <a:pt x="1596452" y="316762"/>
                    <a:pt x="1578296" y="295830"/>
                    <a:pt x="1611923" y="316523"/>
                  </a:cubicBezTo>
                  <a:cubicBezTo>
                    <a:pt x="1698625" y="369877"/>
                    <a:pt x="1634745" y="336726"/>
                    <a:pt x="1688123" y="363415"/>
                  </a:cubicBezTo>
                  <a:cubicBezTo>
                    <a:pt x="1758544" y="433839"/>
                    <a:pt x="1675607" y="353964"/>
                    <a:pt x="1729154" y="398585"/>
                  </a:cubicBezTo>
                  <a:cubicBezTo>
                    <a:pt x="1774292" y="436198"/>
                    <a:pt x="1720660" y="398783"/>
                    <a:pt x="1764323" y="427892"/>
                  </a:cubicBezTo>
                  <a:cubicBezTo>
                    <a:pt x="1776046" y="445478"/>
                    <a:pt x="1774092" y="447430"/>
                    <a:pt x="1793631" y="457200"/>
                  </a:cubicBezTo>
                  <a:cubicBezTo>
                    <a:pt x="1795378" y="458074"/>
                    <a:pt x="1797538" y="457200"/>
                    <a:pt x="1799492" y="45720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C9B26AB4-2E69-439E-054F-ED7E9C1EBA81}"/>
                </a:ext>
              </a:extLst>
            </p:cNvPr>
            <p:cNvSpPr/>
            <p:nvPr/>
          </p:nvSpPr>
          <p:spPr bwMode="gray">
            <a:xfrm>
              <a:off x="6855682" y="3767480"/>
              <a:ext cx="23145" cy="141833"/>
            </a:xfrm>
            <a:custGeom>
              <a:avLst/>
              <a:gdLst>
                <a:gd name="connsiteX0" fmla="*/ 17584 w 30609"/>
                <a:gd name="connsiteY0" fmla="*/ 187569 h 187569"/>
                <a:gd name="connsiteX1" fmla="*/ 23446 w 30609"/>
                <a:gd name="connsiteY1" fmla="*/ 111369 h 187569"/>
                <a:gd name="connsiteX2" fmla="*/ 0 w 30609"/>
                <a:gd name="connsiteY2" fmla="*/ 52754 h 187569"/>
                <a:gd name="connsiteX3" fmla="*/ 0 w 30609"/>
                <a:gd name="connsiteY3" fmla="*/ 0 h 18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09" h="187569">
                  <a:moveTo>
                    <a:pt x="17584" y="187569"/>
                  </a:moveTo>
                  <a:cubicBezTo>
                    <a:pt x="32213" y="151000"/>
                    <a:pt x="35023" y="157677"/>
                    <a:pt x="23446" y="111369"/>
                  </a:cubicBezTo>
                  <a:cubicBezTo>
                    <a:pt x="16440" y="83346"/>
                    <a:pt x="0" y="87055"/>
                    <a:pt x="0" y="52754"/>
                  </a:cubicBez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28363366-A5FE-A1C7-CC20-1EE763B0EBDF}"/>
                </a:ext>
              </a:extLst>
            </p:cNvPr>
            <p:cNvSpPr/>
            <p:nvPr/>
          </p:nvSpPr>
          <p:spPr bwMode="gray">
            <a:xfrm>
              <a:off x="7139346" y="3213446"/>
              <a:ext cx="1019422" cy="97510"/>
            </a:xfrm>
            <a:custGeom>
              <a:avLst/>
              <a:gdLst>
                <a:gd name="connsiteX0" fmla="*/ 0 w 1348154"/>
                <a:gd name="connsiteY0" fmla="*/ 128953 h 128953"/>
                <a:gd name="connsiteX1" fmla="*/ 29308 w 1348154"/>
                <a:gd name="connsiteY1" fmla="*/ 117230 h 128953"/>
                <a:gd name="connsiteX2" fmla="*/ 82062 w 1348154"/>
                <a:gd name="connsiteY2" fmla="*/ 82061 h 128953"/>
                <a:gd name="connsiteX3" fmla="*/ 257908 w 1348154"/>
                <a:gd name="connsiteY3" fmla="*/ 64476 h 128953"/>
                <a:gd name="connsiteX4" fmla="*/ 287216 w 1348154"/>
                <a:gd name="connsiteY4" fmla="*/ 41030 h 128953"/>
                <a:gd name="connsiteX5" fmla="*/ 310662 w 1348154"/>
                <a:gd name="connsiteY5" fmla="*/ 29307 h 128953"/>
                <a:gd name="connsiteX6" fmla="*/ 381000 w 1348154"/>
                <a:gd name="connsiteY6" fmla="*/ 5861 h 128953"/>
                <a:gd name="connsiteX7" fmla="*/ 468923 w 1348154"/>
                <a:gd name="connsiteY7" fmla="*/ 11723 h 128953"/>
                <a:gd name="connsiteX8" fmla="*/ 492370 w 1348154"/>
                <a:gd name="connsiteY8" fmla="*/ 17584 h 128953"/>
                <a:gd name="connsiteX9" fmla="*/ 556846 w 1348154"/>
                <a:gd name="connsiteY9" fmla="*/ 35169 h 128953"/>
                <a:gd name="connsiteX10" fmla="*/ 574431 w 1348154"/>
                <a:gd name="connsiteY10" fmla="*/ 46892 h 128953"/>
                <a:gd name="connsiteX11" fmla="*/ 597877 w 1348154"/>
                <a:gd name="connsiteY11" fmla="*/ 82061 h 128953"/>
                <a:gd name="connsiteX12" fmla="*/ 615462 w 1348154"/>
                <a:gd name="connsiteY12" fmla="*/ 99646 h 128953"/>
                <a:gd name="connsiteX13" fmla="*/ 697523 w 1348154"/>
                <a:gd name="connsiteY13" fmla="*/ 93784 h 128953"/>
                <a:gd name="connsiteX14" fmla="*/ 732693 w 1348154"/>
                <a:gd name="connsiteY14" fmla="*/ 70338 h 128953"/>
                <a:gd name="connsiteX15" fmla="*/ 779585 w 1348154"/>
                <a:gd name="connsiteY15" fmla="*/ 64476 h 128953"/>
                <a:gd name="connsiteX16" fmla="*/ 814754 w 1348154"/>
                <a:gd name="connsiteY16" fmla="*/ 70338 h 128953"/>
                <a:gd name="connsiteX17" fmla="*/ 832339 w 1348154"/>
                <a:gd name="connsiteY17" fmla="*/ 87923 h 128953"/>
                <a:gd name="connsiteX18" fmla="*/ 855785 w 1348154"/>
                <a:gd name="connsiteY18" fmla="*/ 99646 h 128953"/>
                <a:gd name="connsiteX19" fmla="*/ 931985 w 1348154"/>
                <a:gd name="connsiteY19" fmla="*/ 87923 h 128953"/>
                <a:gd name="connsiteX20" fmla="*/ 967154 w 1348154"/>
                <a:gd name="connsiteY20" fmla="*/ 58615 h 128953"/>
                <a:gd name="connsiteX21" fmla="*/ 1014046 w 1348154"/>
                <a:gd name="connsiteY21" fmla="*/ 35169 h 128953"/>
                <a:gd name="connsiteX22" fmla="*/ 1037493 w 1348154"/>
                <a:gd name="connsiteY22" fmla="*/ 29307 h 128953"/>
                <a:gd name="connsiteX23" fmla="*/ 1060939 w 1348154"/>
                <a:gd name="connsiteY23" fmla="*/ 17584 h 128953"/>
                <a:gd name="connsiteX24" fmla="*/ 1143000 w 1348154"/>
                <a:gd name="connsiteY24" fmla="*/ 0 h 128953"/>
                <a:gd name="connsiteX25" fmla="*/ 1271954 w 1348154"/>
                <a:gd name="connsiteY25" fmla="*/ 5861 h 128953"/>
                <a:gd name="connsiteX26" fmla="*/ 1289539 w 1348154"/>
                <a:gd name="connsiteY26" fmla="*/ 17584 h 128953"/>
                <a:gd name="connsiteX27" fmla="*/ 1307123 w 1348154"/>
                <a:gd name="connsiteY27" fmla="*/ 23446 h 128953"/>
                <a:gd name="connsiteX28" fmla="*/ 1348154 w 1348154"/>
                <a:gd name="connsiteY28" fmla="*/ 29307 h 128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48154" h="128953">
                  <a:moveTo>
                    <a:pt x="0" y="128953"/>
                  </a:moveTo>
                  <a:cubicBezTo>
                    <a:pt x="9769" y="125045"/>
                    <a:pt x="20286" y="122643"/>
                    <a:pt x="29308" y="117230"/>
                  </a:cubicBezTo>
                  <a:cubicBezTo>
                    <a:pt x="54618" y="102044"/>
                    <a:pt x="54983" y="89798"/>
                    <a:pt x="82062" y="82061"/>
                  </a:cubicBezTo>
                  <a:cubicBezTo>
                    <a:pt x="143777" y="64428"/>
                    <a:pt x="190027" y="67870"/>
                    <a:pt x="257908" y="64476"/>
                  </a:cubicBezTo>
                  <a:cubicBezTo>
                    <a:pt x="267677" y="56661"/>
                    <a:pt x="276806" y="47970"/>
                    <a:pt x="287216" y="41030"/>
                  </a:cubicBezTo>
                  <a:cubicBezTo>
                    <a:pt x="294486" y="36183"/>
                    <a:pt x="302707" y="32923"/>
                    <a:pt x="310662" y="29307"/>
                  </a:cubicBezTo>
                  <a:cubicBezTo>
                    <a:pt x="355727" y="8823"/>
                    <a:pt x="340532" y="13955"/>
                    <a:pt x="381000" y="5861"/>
                  </a:cubicBezTo>
                  <a:cubicBezTo>
                    <a:pt x="410308" y="7815"/>
                    <a:pt x="439712" y="8648"/>
                    <a:pt x="468923" y="11723"/>
                  </a:cubicBezTo>
                  <a:cubicBezTo>
                    <a:pt x="476935" y="12566"/>
                    <a:pt x="484598" y="15464"/>
                    <a:pt x="492370" y="17584"/>
                  </a:cubicBezTo>
                  <a:cubicBezTo>
                    <a:pt x="569085" y="38505"/>
                    <a:pt x="503777" y="21901"/>
                    <a:pt x="556846" y="35169"/>
                  </a:cubicBezTo>
                  <a:cubicBezTo>
                    <a:pt x="562708" y="39077"/>
                    <a:pt x="569792" y="41590"/>
                    <a:pt x="574431" y="46892"/>
                  </a:cubicBezTo>
                  <a:cubicBezTo>
                    <a:pt x="583709" y="57495"/>
                    <a:pt x="589227" y="70940"/>
                    <a:pt x="597877" y="82061"/>
                  </a:cubicBezTo>
                  <a:cubicBezTo>
                    <a:pt x="602966" y="88604"/>
                    <a:pt x="609600" y="93784"/>
                    <a:pt x="615462" y="99646"/>
                  </a:cubicBezTo>
                  <a:cubicBezTo>
                    <a:pt x="642816" y="97692"/>
                    <a:pt x="670918" y="100435"/>
                    <a:pt x="697523" y="93784"/>
                  </a:cubicBezTo>
                  <a:cubicBezTo>
                    <a:pt x="711192" y="90367"/>
                    <a:pt x="718712" y="72086"/>
                    <a:pt x="732693" y="70338"/>
                  </a:cubicBezTo>
                  <a:lnTo>
                    <a:pt x="779585" y="64476"/>
                  </a:lnTo>
                  <a:cubicBezTo>
                    <a:pt x="791308" y="66430"/>
                    <a:pt x="803894" y="65511"/>
                    <a:pt x="814754" y="70338"/>
                  </a:cubicBezTo>
                  <a:cubicBezTo>
                    <a:pt x="822329" y="73705"/>
                    <a:pt x="825593" y="83105"/>
                    <a:pt x="832339" y="87923"/>
                  </a:cubicBezTo>
                  <a:cubicBezTo>
                    <a:pt x="839449" y="93002"/>
                    <a:pt x="847970" y="95738"/>
                    <a:pt x="855785" y="99646"/>
                  </a:cubicBezTo>
                  <a:cubicBezTo>
                    <a:pt x="866369" y="98470"/>
                    <a:pt x="914220" y="95536"/>
                    <a:pt x="931985" y="87923"/>
                  </a:cubicBezTo>
                  <a:cubicBezTo>
                    <a:pt x="961978" y="75069"/>
                    <a:pt x="938104" y="77102"/>
                    <a:pt x="967154" y="58615"/>
                  </a:cubicBezTo>
                  <a:cubicBezTo>
                    <a:pt x="981897" y="49233"/>
                    <a:pt x="997092" y="39408"/>
                    <a:pt x="1014046" y="35169"/>
                  </a:cubicBezTo>
                  <a:cubicBezTo>
                    <a:pt x="1021862" y="33215"/>
                    <a:pt x="1029950" y="32136"/>
                    <a:pt x="1037493" y="29307"/>
                  </a:cubicBezTo>
                  <a:cubicBezTo>
                    <a:pt x="1045674" y="26239"/>
                    <a:pt x="1052588" y="20154"/>
                    <a:pt x="1060939" y="17584"/>
                  </a:cubicBezTo>
                  <a:cubicBezTo>
                    <a:pt x="1073837" y="13615"/>
                    <a:pt x="1123450" y="3910"/>
                    <a:pt x="1143000" y="0"/>
                  </a:cubicBezTo>
                  <a:cubicBezTo>
                    <a:pt x="1185985" y="1954"/>
                    <a:pt x="1229231" y="734"/>
                    <a:pt x="1271954" y="5861"/>
                  </a:cubicBezTo>
                  <a:cubicBezTo>
                    <a:pt x="1278949" y="6700"/>
                    <a:pt x="1283238" y="14433"/>
                    <a:pt x="1289539" y="17584"/>
                  </a:cubicBezTo>
                  <a:cubicBezTo>
                    <a:pt x="1295065" y="20347"/>
                    <a:pt x="1301092" y="22106"/>
                    <a:pt x="1307123" y="23446"/>
                  </a:cubicBezTo>
                  <a:cubicBezTo>
                    <a:pt x="1334943" y="29628"/>
                    <a:pt x="1331933" y="29307"/>
                    <a:pt x="1348154" y="29307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E31A6CDE-6F75-006D-EF80-5ECD62292CAF}"/>
                </a:ext>
              </a:extLst>
            </p:cNvPr>
            <p:cNvSpPr/>
            <p:nvPr/>
          </p:nvSpPr>
          <p:spPr bwMode="gray">
            <a:xfrm>
              <a:off x="8101148" y="3576451"/>
              <a:ext cx="1001692" cy="253080"/>
            </a:xfrm>
            <a:custGeom>
              <a:avLst/>
              <a:gdLst>
                <a:gd name="connsiteX0" fmla="*/ 0 w 1324708"/>
                <a:gd name="connsiteY0" fmla="*/ 334690 h 334690"/>
                <a:gd name="connsiteX1" fmla="*/ 87923 w 1324708"/>
                <a:gd name="connsiteY1" fmla="*/ 281937 h 334690"/>
                <a:gd name="connsiteX2" fmla="*/ 105508 w 1324708"/>
                <a:gd name="connsiteY2" fmla="*/ 264352 h 334690"/>
                <a:gd name="connsiteX3" fmla="*/ 216877 w 1324708"/>
                <a:gd name="connsiteY3" fmla="*/ 246767 h 334690"/>
                <a:gd name="connsiteX4" fmla="*/ 298939 w 1324708"/>
                <a:gd name="connsiteY4" fmla="*/ 229183 h 334690"/>
                <a:gd name="connsiteX5" fmla="*/ 375139 w 1324708"/>
                <a:gd name="connsiteY5" fmla="*/ 240906 h 334690"/>
                <a:gd name="connsiteX6" fmla="*/ 404446 w 1324708"/>
                <a:gd name="connsiteY6" fmla="*/ 252629 h 334690"/>
                <a:gd name="connsiteX7" fmla="*/ 439616 w 1324708"/>
                <a:gd name="connsiteY7" fmla="*/ 264352 h 334690"/>
                <a:gd name="connsiteX8" fmla="*/ 492369 w 1324708"/>
                <a:gd name="connsiteY8" fmla="*/ 293660 h 334690"/>
                <a:gd name="connsiteX9" fmla="*/ 545123 w 1324708"/>
                <a:gd name="connsiteY9" fmla="*/ 281937 h 334690"/>
                <a:gd name="connsiteX10" fmla="*/ 556846 w 1324708"/>
                <a:gd name="connsiteY10" fmla="*/ 270213 h 334690"/>
                <a:gd name="connsiteX11" fmla="*/ 574431 w 1324708"/>
                <a:gd name="connsiteY11" fmla="*/ 246767 h 334690"/>
                <a:gd name="connsiteX12" fmla="*/ 580292 w 1324708"/>
                <a:gd name="connsiteY12" fmla="*/ 229183 h 334690"/>
                <a:gd name="connsiteX13" fmla="*/ 621323 w 1324708"/>
                <a:gd name="connsiteY13" fmla="*/ 211598 h 334690"/>
                <a:gd name="connsiteX14" fmla="*/ 668216 w 1324708"/>
                <a:gd name="connsiteY14" fmla="*/ 194013 h 334690"/>
                <a:gd name="connsiteX15" fmla="*/ 720969 w 1324708"/>
                <a:gd name="connsiteY15" fmla="*/ 164706 h 334690"/>
                <a:gd name="connsiteX16" fmla="*/ 738554 w 1324708"/>
                <a:gd name="connsiteY16" fmla="*/ 147121 h 334690"/>
                <a:gd name="connsiteX17" fmla="*/ 767862 w 1324708"/>
                <a:gd name="connsiteY17" fmla="*/ 135398 h 334690"/>
                <a:gd name="connsiteX18" fmla="*/ 797169 w 1324708"/>
                <a:gd name="connsiteY18" fmla="*/ 117813 h 334690"/>
                <a:gd name="connsiteX19" fmla="*/ 820616 w 1324708"/>
                <a:gd name="connsiteY19" fmla="*/ 106090 h 334690"/>
                <a:gd name="connsiteX20" fmla="*/ 855785 w 1324708"/>
                <a:gd name="connsiteY20" fmla="*/ 88506 h 334690"/>
                <a:gd name="connsiteX21" fmla="*/ 1060939 w 1324708"/>
                <a:gd name="connsiteY21" fmla="*/ 94367 h 334690"/>
                <a:gd name="connsiteX22" fmla="*/ 1078523 w 1324708"/>
                <a:gd name="connsiteY22" fmla="*/ 76783 h 334690"/>
                <a:gd name="connsiteX23" fmla="*/ 1101969 w 1324708"/>
                <a:gd name="connsiteY23" fmla="*/ 59198 h 334690"/>
                <a:gd name="connsiteX24" fmla="*/ 1148862 w 1324708"/>
                <a:gd name="connsiteY24" fmla="*/ 41613 h 334690"/>
                <a:gd name="connsiteX25" fmla="*/ 1178169 w 1324708"/>
                <a:gd name="connsiteY25" fmla="*/ 35752 h 334690"/>
                <a:gd name="connsiteX26" fmla="*/ 1236785 w 1324708"/>
                <a:gd name="connsiteY26" fmla="*/ 24029 h 334690"/>
                <a:gd name="connsiteX27" fmla="*/ 1260231 w 1324708"/>
                <a:gd name="connsiteY27" fmla="*/ 6444 h 334690"/>
                <a:gd name="connsiteX28" fmla="*/ 1324708 w 1324708"/>
                <a:gd name="connsiteY28" fmla="*/ 583 h 33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24708" h="334690">
                  <a:moveTo>
                    <a:pt x="0" y="334690"/>
                  </a:moveTo>
                  <a:cubicBezTo>
                    <a:pt x="63659" y="292251"/>
                    <a:pt x="33851" y="308972"/>
                    <a:pt x="87923" y="281937"/>
                  </a:cubicBezTo>
                  <a:cubicBezTo>
                    <a:pt x="93785" y="276075"/>
                    <a:pt x="97856" y="267540"/>
                    <a:pt x="105508" y="264352"/>
                  </a:cubicBezTo>
                  <a:cubicBezTo>
                    <a:pt x="133266" y="252786"/>
                    <a:pt x="188479" y="249607"/>
                    <a:pt x="216877" y="246767"/>
                  </a:cubicBezTo>
                  <a:cubicBezTo>
                    <a:pt x="238598" y="240561"/>
                    <a:pt x="275485" y="228010"/>
                    <a:pt x="298939" y="229183"/>
                  </a:cubicBezTo>
                  <a:cubicBezTo>
                    <a:pt x="324606" y="230466"/>
                    <a:pt x="349739" y="236998"/>
                    <a:pt x="375139" y="240906"/>
                  </a:cubicBezTo>
                  <a:cubicBezTo>
                    <a:pt x="384908" y="244814"/>
                    <a:pt x="394558" y="249033"/>
                    <a:pt x="404446" y="252629"/>
                  </a:cubicBezTo>
                  <a:cubicBezTo>
                    <a:pt x="416059" y="256852"/>
                    <a:pt x="428563" y="258825"/>
                    <a:pt x="439616" y="264352"/>
                  </a:cubicBezTo>
                  <a:cubicBezTo>
                    <a:pt x="481086" y="285087"/>
                    <a:pt x="463880" y="274667"/>
                    <a:pt x="492369" y="293660"/>
                  </a:cubicBezTo>
                  <a:cubicBezTo>
                    <a:pt x="509954" y="289752"/>
                    <a:pt x="528194" y="288093"/>
                    <a:pt x="545123" y="281937"/>
                  </a:cubicBezTo>
                  <a:cubicBezTo>
                    <a:pt x="550317" y="280048"/>
                    <a:pt x="553308" y="274459"/>
                    <a:pt x="556846" y="270213"/>
                  </a:cubicBezTo>
                  <a:cubicBezTo>
                    <a:pt x="563100" y="262708"/>
                    <a:pt x="568569" y="254582"/>
                    <a:pt x="574431" y="246767"/>
                  </a:cubicBezTo>
                  <a:cubicBezTo>
                    <a:pt x="576385" y="240906"/>
                    <a:pt x="575349" y="232890"/>
                    <a:pt x="580292" y="229183"/>
                  </a:cubicBezTo>
                  <a:cubicBezTo>
                    <a:pt x="592196" y="220255"/>
                    <a:pt x="607507" y="217124"/>
                    <a:pt x="621323" y="211598"/>
                  </a:cubicBezTo>
                  <a:cubicBezTo>
                    <a:pt x="669677" y="192257"/>
                    <a:pt x="597772" y="225322"/>
                    <a:pt x="668216" y="194013"/>
                  </a:cubicBezTo>
                  <a:cubicBezTo>
                    <a:pt x="681880" y="187940"/>
                    <a:pt x="710208" y="172777"/>
                    <a:pt x="720969" y="164706"/>
                  </a:cubicBezTo>
                  <a:cubicBezTo>
                    <a:pt x="727601" y="159732"/>
                    <a:pt x="731524" y="151514"/>
                    <a:pt x="738554" y="147121"/>
                  </a:cubicBezTo>
                  <a:cubicBezTo>
                    <a:pt x="747477" y="141544"/>
                    <a:pt x="758451" y="140104"/>
                    <a:pt x="767862" y="135398"/>
                  </a:cubicBezTo>
                  <a:cubicBezTo>
                    <a:pt x="778052" y="130303"/>
                    <a:pt x="787210" y="123346"/>
                    <a:pt x="797169" y="117813"/>
                  </a:cubicBezTo>
                  <a:cubicBezTo>
                    <a:pt x="804807" y="113569"/>
                    <a:pt x="813029" y="110425"/>
                    <a:pt x="820616" y="106090"/>
                  </a:cubicBezTo>
                  <a:cubicBezTo>
                    <a:pt x="852432" y="87910"/>
                    <a:pt x="823543" y="99252"/>
                    <a:pt x="855785" y="88506"/>
                  </a:cubicBezTo>
                  <a:cubicBezTo>
                    <a:pt x="920203" y="94948"/>
                    <a:pt x="995192" y="108978"/>
                    <a:pt x="1060939" y="94367"/>
                  </a:cubicBezTo>
                  <a:cubicBezTo>
                    <a:pt x="1069031" y="92569"/>
                    <a:pt x="1072229" y="82178"/>
                    <a:pt x="1078523" y="76783"/>
                  </a:cubicBezTo>
                  <a:cubicBezTo>
                    <a:pt x="1085940" y="70425"/>
                    <a:pt x="1093231" y="63567"/>
                    <a:pt x="1101969" y="59198"/>
                  </a:cubicBezTo>
                  <a:cubicBezTo>
                    <a:pt x="1116900" y="51732"/>
                    <a:pt x="1132906" y="46522"/>
                    <a:pt x="1148862" y="41613"/>
                  </a:cubicBezTo>
                  <a:cubicBezTo>
                    <a:pt x="1158384" y="38683"/>
                    <a:pt x="1168367" y="37534"/>
                    <a:pt x="1178169" y="35752"/>
                  </a:cubicBezTo>
                  <a:cubicBezTo>
                    <a:pt x="1230862" y="26171"/>
                    <a:pt x="1195317" y="34395"/>
                    <a:pt x="1236785" y="24029"/>
                  </a:cubicBezTo>
                  <a:cubicBezTo>
                    <a:pt x="1244600" y="18167"/>
                    <a:pt x="1251493" y="10813"/>
                    <a:pt x="1260231" y="6444"/>
                  </a:cubicBezTo>
                  <a:cubicBezTo>
                    <a:pt x="1278587" y="-2734"/>
                    <a:pt x="1306791" y="583"/>
                    <a:pt x="1324708" y="583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5ACEAD88-86AC-B0D4-E842-E382E32A1275}"/>
                </a:ext>
              </a:extLst>
            </p:cNvPr>
            <p:cNvSpPr/>
            <p:nvPr/>
          </p:nvSpPr>
          <p:spPr bwMode="gray">
            <a:xfrm>
              <a:off x="8251845" y="3204582"/>
              <a:ext cx="283665" cy="132968"/>
            </a:xfrm>
            <a:custGeom>
              <a:avLst/>
              <a:gdLst>
                <a:gd name="connsiteX0" fmla="*/ 0 w 375139"/>
                <a:gd name="connsiteY0" fmla="*/ 175847 h 175847"/>
                <a:gd name="connsiteX1" fmla="*/ 35170 w 375139"/>
                <a:gd name="connsiteY1" fmla="*/ 169985 h 175847"/>
                <a:gd name="connsiteX2" fmla="*/ 99647 w 375139"/>
                <a:gd name="connsiteY2" fmla="*/ 146539 h 175847"/>
                <a:gd name="connsiteX3" fmla="*/ 216877 w 375139"/>
                <a:gd name="connsiteY3" fmla="*/ 140677 h 175847"/>
                <a:gd name="connsiteX4" fmla="*/ 234462 w 375139"/>
                <a:gd name="connsiteY4" fmla="*/ 99647 h 175847"/>
                <a:gd name="connsiteX5" fmla="*/ 240324 w 375139"/>
                <a:gd name="connsiteY5" fmla="*/ 82062 h 175847"/>
                <a:gd name="connsiteX6" fmla="*/ 298939 w 375139"/>
                <a:gd name="connsiteY6" fmla="*/ 87924 h 175847"/>
                <a:gd name="connsiteX7" fmla="*/ 339970 w 375139"/>
                <a:gd name="connsiteY7" fmla="*/ 70339 h 175847"/>
                <a:gd name="connsiteX8" fmla="*/ 351693 w 375139"/>
                <a:gd name="connsiteY8" fmla="*/ 46893 h 175847"/>
                <a:gd name="connsiteX9" fmla="*/ 363416 w 375139"/>
                <a:gd name="connsiteY9" fmla="*/ 5862 h 175847"/>
                <a:gd name="connsiteX10" fmla="*/ 375139 w 375139"/>
                <a:gd name="connsiteY10" fmla="*/ 0 h 17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139" h="175847">
                  <a:moveTo>
                    <a:pt x="0" y="175847"/>
                  </a:moveTo>
                  <a:cubicBezTo>
                    <a:pt x="11723" y="173893"/>
                    <a:pt x="23811" y="173480"/>
                    <a:pt x="35170" y="169985"/>
                  </a:cubicBezTo>
                  <a:cubicBezTo>
                    <a:pt x="57735" y="163042"/>
                    <a:pt x="75771" y="148529"/>
                    <a:pt x="99647" y="146539"/>
                  </a:cubicBezTo>
                  <a:cubicBezTo>
                    <a:pt x="138637" y="143290"/>
                    <a:pt x="177800" y="142631"/>
                    <a:pt x="216877" y="140677"/>
                  </a:cubicBezTo>
                  <a:cubicBezTo>
                    <a:pt x="230626" y="99436"/>
                    <a:pt x="212730" y="150353"/>
                    <a:pt x="234462" y="99647"/>
                  </a:cubicBezTo>
                  <a:cubicBezTo>
                    <a:pt x="236896" y="93968"/>
                    <a:pt x="238370" y="87924"/>
                    <a:pt x="240324" y="82062"/>
                  </a:cubicBezTo>
                  <a:cubicBezTo>
                    <a:pt x="259862" y="84016"/>
                    <a:pt x="279303" y="87924"/>
                    <a:pt x="298939" y="87924"/>
                  </a:cubicBezTo>
                  <a:cubicBezTo>
                    <a:pt x="307563" y="87924"/>
                    <a:pt x="335393" y="72628"/>
                    <a:pt x="339970" y="70339"/>
                  </a:cubicBezTo>
                  <a:cubicBezTo>
                    <a:pt x="343878" y="62524"/>
                    <a:pt x="348625" y="55074"/>
                    <a:pt x="351693" y="46893"/>
                  </a:cubicBezTo>
                  <a:cubicBezTo>
                    <a:pt x="352710" y="44182"/>
                    <a:pt x="359871" y="10588"/>
                    <a:pt x="363416" y="5862"/>
                  </a:cubicBezTo>
                  <a:cubicBezTo>
                    <a:pt x="366037" y="2367"/>
                    <a:pt x="371231" y="1954"/>
                    <a:pt x="375139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914559FA-DF83-7FA6-CAEA-97591069EE27}"/>
                </a:ext>
              </a:extLst>
            </p:cNvPr>
            <p:cNvSpPr/>
            <p:nvPr/>
          </p:nvSpPr>
          <p:spPr bwMode="gray">
            <a:xfrm>
              <a:off x="7617908" y="3284362"/>
              <a:ext cx="24466" cy="217181"/>
            </a:xfrm>
            <a:custGeom>
              <a:avLst/>
              <a:gdLst>
                <a:gd name="connsiteX0" fmla="*/ 23609 w 32356"/>
                <a:gd name="connsiteY0" fmla="*/ 287216 h 287216"/>
                <a:gd name="connsiteX1" fmla="*/ 162 w 32356"/>
                <a:gd name="connsiteY1" fmla="*/ 205154 h 287216"/>
                <a:gd name="connsiteX2" fmla="*/ 23609 w 32356"/>
                <a:gd name="connsiteY2" fmla="*/ 158262 h 287216"/>
                <a:gd name="connsiteX3" fmla="*/ 23609 w 32356"/>
                <a:gd name="connsiteY3" fmla="*/ 5862 h 287216"/>
                <a:gd name="connsiteX4" fmla="*/ 17747 w 32356"/>
                <a:gd name="connsiteY4" fmla="*/ 0 h 28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6" h="287216">
                  <a:moveTo>
                    <a:pt x="23609" y="287216"/>
                  </a:moveTo>
                  <a:cubicBezTo>
                    <a:pt x="16889" y="269296"/>
                    <a:pt x="-1937" y="228241"/>
                    <a:pt x="162" y="205154"/>
                  </a:cubicBezTo>
                  <a:cubicBezTo>
                    <a:pt x="1671" y="188551"/>
                    <a:pt x="14640" y="171716"/>
                    <a:pt x="23609" y="158262"/>
                  </a:cubicBezTo>
                  <a:cubicBezTo>
                    <a:pt x="36565" y="93477"/>
                    <a:pt x="33904" y="119104"/>
                    <a:pt x="23609" y="5862"/>
                  </a:cubicBezTo>
                  <a:cubicBezTo>
                    <a:pt x="23359" y="3110"/>
                    <a:pt x="19701" y="1954"/>
                    <a:pt x="17747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0B84C438-0366-EC93-8F89-D9C0E499A3DB}"/>
                </a:ext>
              </a:extLst>
            </p:cNvPr>
            <p:cNvSpPr/>
            <p:nvPr/>
          </p:nvSpPr>
          <p:spPr bwMode="gray">
            <a:xfrm>
              <a:off x="7662354" y="2978536"/>
              <a:ext cx="48755" cy="283664"/>
            </a:xfrm>
            <a:custGeom>
              <a:avLst/>
              <a:gdLst>
                <a:gd name="connsiteX0" fmla="*/ 64477 w 64477"/>
                <a:gd name="connsiteY0" fmla="*/ 375138 h 375138"/>
                <a:gd name="connsiteX1" fmla="*/ 52754 w 64477"/>
                <a:gd name="connsiteY1" fmla="*/ 269631 h 375138"/>
                <a:gd name="connsiteX2" fmla="*/ 41031 w 64477"/>
                <a:gd name="connsiteY2" fmla="*/ 222738 h 375138"/>
                <a:gd name="connsiteX3" fmla="*/ 29308 w 64477"/>
                <a:gd name="connsiteY3" fmla="*/ 205154 h 375138"/>
                <a:gd name="connsiteX4" fmla="*/ 11723 w 64477"/>
                <a:gd name="connsiteY4" fmla="*/ 181708 h 375138"/>
                <a:gd name="connsiteX5" fmla="*/ 0 w 64477"/>
                <a:gd name="connsiteY5" fmla="*/ 152400 h 375138"/>
                <a:gd name="connsiteX6" fmla="*/ 11723 w 64477"/>
                <a:gd name="connsiteY6" fmla="*/ 58615 h 375138"/>
                <a:gd name="connsiteX7" fmla="*/ 46892 w 64477"/>
                <a:gd name="connsiteY7" fmla="*/ 46892 h 375138"/>
                <a:gd name="connsiteX8" fmla="*/ 52754 w 64477"/>
                <a:gd name="connsiteY8" fmla="*/ 0 h 375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477" h="375138">
                  <a:moveTo>
                    <a:pt x="64477" y="375138"/>
                  </a:moveTo>
                  <a:cubicBezTo>
                    <a:pt x="59987" y="316776"/>
                    <a:pt x="62775" y="313058"/>
                    <a:pt x="52754" y="269631"/>
                  </a:cubicBezTo>
                  <a:cubicBezTo>
                    <a:pt x="49131" y="253932"/>
                    <a:pt x="49969" y="236144"/>
                    <a:pt x="41031" y="222738"/>
                  </a:cubicBezTo>
                  <a:cubicBezTo>
                    <a:pt x="37123" y="216877"/>
                    <a:pt x="33403" y="210886"/>
                    <a:pt x="29308" y="205154"/>
                  </a:cubicBezTo>
                  <a:cubicBezTo>
                    <a:pt x="23630" y="197204"/>
                    <a:pt x="16467" y="190248"/>
                    <a:pt x="11723" y="181708"/>
                  </a:cubicBezTo>
                  <a:cubicBezTo>
                    <a:pt x="6613" y="172510"/>
                    <a:pt x="3908" y="162169"/>
                    <a:pt x="0" y="152400"/>
                  </a:cubicBezTo>
                  <a:cubicBezTo>
                    <a:pt x="3908" y="121138"/>
                    <a:pt x="-1072" y="87405"/>
                    <a:pt x="11723" y="58615"/>
                  </a:cubicBezTo>
                  <a:cubicBezTo>
                    <a:pt x="16742" y="47323"/>
                    <a:pt x="37006" y="54306"/>
                    <a:pt x="46892" y="46892"/>
                  </a:cubicBezTo>
                  <a:cubicBezTo>
                    <a:pt x="66250" y="32373"/>
                    <a:pt x="57016" y="17050"/>
                    <a:pt x="52754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E5C99E84-D08E-C07B-0958-4B79B46EA545}"/>
                </a:ext>
              </a:extLst>
            </p:cNvPr>
            <p:cNvSpPr/>
            <p:nvPr/>
          </p:nvSpPr>
          <p:spPr bwMode="gray">
            <a:xfrm>
              <a:off x="7307773" y="3115937"/>
              <a:ext cx="26594" cy="141833"/>
            </a:xfrm>
            <a:custGeom>
              <a:avLst/>
              <a:gdLst>
                <a:gd name="connsiteX0" fmla="*/ 35169 w 35169"/>
                <a:gd name="connsiteY0" fmla="*/ 187569 h 187569"/>
                <a:gd name="connsiteX1" fmla="*/ 17584 w 35169"/>
                <a:gd name="connsiteY1" fmla="*/ 158261 h 187569"/>
                <a:gd name="connsiteX2" fmla="*/ 0 w 35169"/>
                <a:gd name="connsiteY2" fmla="*/ 105507 h 187569"/>
                <a:gd name="connsiteX3" fmla="*/ 5861 w 35169"/>
                <a:gd name="connsiteY3" fmla="*/ 70338 h 187569"/>
                <a:gd name="connsiteX4" fmla="*/ 11723 w 35169"/>
                <a:gd name="connsiteY4" fmla="*/ 46892 h 187569"/>
                <a:gd name="connsiteX5" fmla="*/ 17584 w 35169"/>
                <a:gd name="connsiteY5" fmla="*/ 0 h 18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69" h="187569">
                  <a:moveTo>
                    <a:pt x="35169" y="187569"/>
                  </a:moveTo>
                  <a:cubicBezTo>
                    <a:pt x="29307" y="177800"/>
                    <a:pt x="22679" y="168451"/>
                    <a:pt x="17584" y="158261"/>
                  </a:cubicBezTo>
                  <a:cubicBezTo>
                    <a:pt x="6547" y="136187"/>
                    <a:pt x="5597" y="127896"/>
                    <a:pt x="0" y="105507"/>
                  </a:cubicBezTo>
                  <a:cubicBezTo>
                    <a:pt x="1954" y="93784"/>
                    <a:pt x="3530" y="81992"/>
                    <a:pt x="5861" y="70338"/>
                  </a:cubicBezTo>
                  <a:cubicBezTo>
                    <a:pt x="7441" y="62439"/>
                    <a:pt x="10143" y="54791"/>
                    <a:pt x="11723" y="46892"/>
                  </a:cubicBezTo>
                  <a:cubicBezTo>
                    <a:pt x="18226" y="14375"/>
                    <a:pt x="17584" y="21468"/>
                    <a:pt x="17584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40F611E6-5E0B-F223-9BF2-DB44FA3D31D7}"/>
                </a:ext>
              </a:extLst>
            </p:cNvPr>
            <p:cNvSpPr/>
            <p:nvPr/>
          </p:nvSpPr>
          <p:spPr bwMode="gray">
            <a:xfrm>
              <a:off x="7467334" y="3903134"/>
              <a:ext cx="567330" cy="108119"/>
            </a:xfrm>
            <a:custGeom>
              <a:avLst/>
              <a:gdLst>
                <a:gd name="connsiteX0" fmla="*/ 0 w 750277"/>
                <a:gd name="connsiteY0" fmla="*/ 101955 h 142985"/>
                <a:gd name="connsiteX1" fmla="*/ 29308 w 750277"/>
                <a:gd name="connsiteY1" fmla="*/ 90232 h 142985"/>
                <a:gd name="connsiteX2" fmla="*/ 52754 w 750277"/>
                <a:gd name="connsiteY2" fmla="*/ 78509 h 142985"/>
                <a:gd name="connsiteX3" fmla="*/ 76200 w 750277"/>
                <a:gd name="connsiteY3" fmla="*/ 72647 h 142985"/>
                <a:gd name="connsiteX4" fmla="*/ 199292 w 750277"/>
                <a:gd name="connsiteY4" fmla="*/ 96093 h 142985"/>
                <a:gd name="connsiteX5" fmla="*/ 211016 w 750277"/>
                <a:gd name="connsiteY5" fmla="*/ 119539 h 142985"/>
                <a:gd name="connsiteX6" fmla="*/ 246185 w 750277"/>
                <a:gd name="connsiteY6" fmla="*/ 142985 h 142985"/>
                <a:gd name="connsiteX7" fmla="*/ 351692 w 750277"/>
                <a:gd name="connsiteY7" fmla="*/ 113678 h 142985"/>
                <a:gd name="connsiteX8" fmla="*/ 375139 w 750277"/>
                <a:gd name="connsiteY8" fmla="*/ 96093 h 142985"/>
                <a:gd name="connsiteX9" fmla="*/ 410308 w 750277"/>
                <a:gd name="connsiteY9" fmla="*/ 60924 h 142985"/>
                <a:gd name="connsiteX10" fmla="*/ 615462 w 750277"/>
                <a:gd name="connsiteY10" fmla="*/ 55062 h 142985"/>
                <a:gd name="connsiteX11" fmla="*/ 621323 w 750277"/>
                <a:gd name="connsiteY11" fmla="*/ 37478 h 142985"/>
                <a:gd name="connsiteX12" fmla="*/ 627185 w 750277"/>
                <a:gd name="connsiteY12" fmla="*/ 14032 h 142985"/>
                <a:gd name="connsiteX13" fmla="*/ 656492 w 750277"/>
                <a:gd name="connsiteY13" fmla="*/ 8170 h 142985"/>
                <a:gd name="connsiteX14" fmla="*/ 750277 w 750277"/>
                <a:gd name="connsiteY14" fmla="*/ 2309 h 14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0277" h="142985">
                  <a:moveTo>
                    <a:pt x="0" y="101955"/>
                  </a:moveTo>
                  <a:cubicBezTo>
                    <a:pt x="9769" y="98047"/>
                    <a:pt x="19693" y="94505"/>
                    <a:pt x="29308" y="90232"/>
                  </a:cubicBezTo>
                  <a:cubicBezTo>
                    <a:pt x="37293" y="86683"/>
                    <a:pt x="44573" y="81577"/>
                    <a:pt x="52754" y="78509"/>
                  </a:cubicBezTo>
                  <a:cubicBezTo>
                    <a:pt x="60297" y="75680"/>
                    <a:pt x="68385" y="74601"/>
                    <a:pt x="76200" y="72647"/>
                  </a:cubicBezTo>
                  <a:cubicBezTo>
                    <a:pt x="115469" y="75101"/>
                    <a:pt x="167090" y="63892"/>
                    <a:pt x="199292" y="96093"/>
                  </a:cubicBezTo>
                  <a:cubicBezTo>
                    <a:pt x="205471" y="102272"/>
                    <a:pt x="204837" y="113360"/>
                    <a:pt x="211016" y="119539"/>
                  </a:cubicBezTo>
                  <a:cubicBezTo>
                    <a:pt x="220979" y="129502"/>
                    <a:pt x="246185" y="142985"/>
                    <a:pt x="246185" y="142985"/>
                  </a:cubicBezTo>
                  <a:cubicBezTo>
                    <a:pt x="305834" y="133044"/>
                    <a:pt x="308286" y="139721"/>
                    <a:pt x="351692" y="113678"/>
                  </a:cubicBezTo>
                  <a:cubicBezTo>
                    <a:pt x="360069" y="108652"/>
                    <a:pt x="368231" y="103001"/>
                    <a:pt x="375139" y="96093"/>
                  </a:cubicBezTo>
                  <a:cubicBezTo>
                    <a:pt x="386702" y="84530"/>
                    <a:pt x="388963" y="63113"/>
                    <a:pt x="410308" y="60924"/>
                  </a:cubicBezTo>
                  <a:cubicBezTo>
                    <a:pt x="478364" y="53944"/>
                    <a:pt x="547077" y="57016"/>
                    <a:pt x="615462" y="55062"/>
                  </a:cubicBezTo>
                  <a:cubicBezTo>
                    <a:pt x="617416" y="49201"/>
                    <a:pt x="619626" y="43419"/>
                    <a:pt x="621323" y="37478"/>
                  </a:cubicBezTo>
                  <a:cubicBezTo>
                    <a:pt x="623536" y="29732"/>
                    <a:pt x="620996" y="19189"/>
                    <a:pt x="627185" y="14032"/>
                  </a:cubicBezTo>
                  <a:cubicBezTo>
                    <a:pt x="634838" y="7654"/>
                    <a:pt x="646827" y="10586"/>
                    <a:pt x="656492" y="8170"/>
                  </a:cubicBezTo>
                  <a:cubicBezTo>
                    <a:pt x="712061" y="-5722"/>
                    <a:pt x="610807" y="2309"/>
                    <a:pt x="750277" y="2309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AA81F00B-920D-9918-968B-124F7D835AB5}"/>
                </a:ext>
              </a:extLst>
            </p:cNvPr>
            <p:cNvSpPr/>
            <p:nvPr/>
          </p:nvSpPr>
          <p:spPr bwMode="gray">
            <a:xfrm>
              <a:off x="8021367" y="3971364"/>
              <a:ext cx="221614" cy="332419"/>
            </a:xfrm>
            <a:custGeom>
              <a:avLst/>
              <a:gdLst>
                <a:gd name="connsiteX0" fmla="*/ 0 w 293077"/>
                <a:gd name="connsiteY0" fmla="*/ 0 h 439615"/>
                <a:gd name="connsiteX1" fmla="*/ 29308 w 293077"/>
                <a:gd name="connsiteY1" fmla="*/ 17584 h 439615"/>
                <a:gd name="connsiteX2" fmla="*/ 93785 w 293077"/>
                <a:gd name="connsiteY2" fmla="*/ 87923 h 439615"/>
                <a:gd name="connsiteX3" fmla="*/ 105508 w 293077"/>
                <a:gd name="connsiteY3" fmla="*/ 105507 h 439615"/>
                <a:gd name="connsiteX4" fmla="*/ 134816 w 293077"/>
                <a:gd name="connsiteY4" fmla="*/ 164123 h 439615"/>
                <a:gd name="connsiteX5" fmla="*/ 152400 w 293077"/>
                <a:gd name="connsiteY5" fmla="*/ 169984 h 439615"/>
                <a:gd name="connsiteX6" fmla="*/ 164124 w 293077"/>
                <a:gd name="connsiteY6" fmla="*/ 181707 h 439615"/>
                <a:gd name="connsiteX7" fmla="*/ 187570 w 293077"/>
                <a:gd name="connsiteY7" fmla="*/ 216877 h 439615"/>
                <a:gd name="connsiteX8" fmla="*/ 199293 w 293077"/>
                <a:gd name="connsiteY8" fmla="*/ 263769 h 439615"/>
                <a:gd name="connsiteX9" fmla="*/ 205154 w 293077"/>
                <a:gd name="connsiteY9" fmla="*/ 281353 h 439615"/>
                <a:gd name="connsiteX10" fmla="*/ 240324 w 293077"/>
                <a:gd name="connsiteY10" fmla="*/ 316523 h 439615"/>
                <a:gd name="connsiteX11" fmla="*/ 252047 w 293077"/>
                <a:gd name="connsiteY11" fmla="*/ 334107 h 439615"/>
                <a:gd name="connsiteX12" fmla="*/ 263770 w 293077"/>
                <a:gd name="connsiteY12" fmla="*/ 375138 h 439615"/>
                <a:gd name="connsiteX13" fmla="*/ 281354 w 293077"/>
                <a:gd name="connsiteY13" fmla="*/ 398584 h 439615"/>
                <a:gd name="connsiteX14" fmla="*/ 287216 w 293077"/>
                <a:gd name="connsiteY14" fmla="*/ 416169 h 439615"/>
                <a:gd name="connsiteX15" fmla="*/ 293077 w 293077"/>
                <a:gd name="connsiteY15" fmla="*/ 439615 h 439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3077" h="439615">
                  <a:moveTo>
                    <a:pt x="0" y="0"/>
                  </a:moveTo>
                  <a:cubicBezTo>
                    <a:pt x="9769" y="5861"/>
                    <a:pt x="20611" y="10225"/>
                    <a:pt x="29308" y="17584"/>
                  </a:cubicBezTo>
                  <a:cubicBezTo>
                    <a:pt x="59758" y="43349"/>
                    <a:pt x="73256" y="59183"/>
                    <a:pt x="93785" y="87923"/>
                  </a:cubicBezTo>
                  <a:cubicBezTo>
                    <a:pt x="97880" y="93655"/>
                    <a:pt x="101600" y="99646"/>
                    <a:pt x="105508" y="105507"/>
                  </a:cubicBezTo>
                  <a:cubicBezTo>
                    <a:pt x="113023" y="128054"/>
                    <a:pt x="115585" y="148097"/>
                    <a:pt x="134816" y="164123"/>
                  </a:cubicBezTo>
                  <a:cubicBezTo>
                    <a:pt x="139562" y="168078"/>
                    <a:pt x="146539" y="168030"/>
                    <a:pt x="152400" y="169984"/>
                  </a:cubicBezTo>
                  <a:cubicBezTo>
                    <a:pt x="156308" y="173892"/>
                    <a:pt x="160808" y="177286"/>
                    <a:pt x="164124" y="181707"/>
                  </a:cubicBezTo>
                  <a:cubicBezTo>
                    <a:pt x="172578" y="192979"/>
                    <a:pt x="187570" y="216877"/>
                    <a:pt x="187570" y="216877"/>
                  </a:cubicBezTo>
                  <a:cubicBezTo>
                    <a:pt x="191478" y="232508"/>
                    <a:pt x="195054" y="248225"/>
                    <a:pt x="199293" y="263769"/>
                  </a:cubicBezTo>
                  <a:cubicBezTo>
                    <a:pt x="200919" y="269730"/>
                    <a:pt x="201361" y="276476"/>
                    <a:pt x="205154" y="281353"/>
                  </a:cubicBezTo>
                  <a:cubicBezTo>
                    <a:pt x="215333" y="294440"/>
                    <a:pt x="231127" y="302728"/>
                    <a:pt x="240324" y="316523"/>
                  </a:cubicBezTo>
                  <a:lnTo>
                    <a:pt x="252047" y="334107"/>
                  </a:lnTo>
                  <a:cubicBezTo>
                    <a:pt x="253317" y="339187"/>
                    <a:pt x="260031" y="368595"/>
                    <a:pt x="263770" y="375138"/>
                  </a:cubicBezTo>
                  <a:cubicBezTo>
                    <a:pt x="268617" y="383620"/>
                    <a:pt x="275493" y="390769"/>
                    <a:pt x="281354" y="398584"/>
                  </a:cubicBezTo>
                  <a:cubicBezTo>
                    <a:pt x="283308" y="404446"/>
                    <a:pt x="285519" y="410228"/>
                    <a:pt x="287216" y="416169"/>
                  </a:cubicBezTo>
                  <a:cubicBezTo>
                    <a:pt x="289429" y="423915"/>
                    <a:pt x="293077" y="439615"/>
                    <a:pt x="293077" y="43961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D58A27E-358F-61EF-4528-8331A4059D4C}"/>
                </a:ext>
              </a:extLst>
            </p:cNvPr>
            <p:cNvSpPr/>
            <p:nvPr/>
          </p:nvSpPr>
          <p:spPr bwMode="gray">
            <a:xfrm>
              <a:off x="8305032" y="3798505"/>
              <a:ext cx="172920" cy="514142"/>
            </a:xfrm>
            <a:custGeom>
              <a:avLst/>
              <a:gdLst>
                <a:gd name="connsiteX0" fmla="*/ 0 w 228682"/>
                <a:gd name="connsiteY0" fmla="*/ 679938 h 679938"/>
                <a:gd name="connsiteX1" fmla="*/ 17585 w 228682"/>
                <a:gd name="connsiteY1" fmla="*/ 644769 h 679938"/>
                <a:gd name="connsiteX2" fmla="*/ 35169 w 228682"/>
                <a:gd name="connsiteY2" fmla="*/ 562707 h 679938"/>
                <a:gd name="connsiteX3" fmla="*/ 41031 w 228682"/>
                <a:gd name="connsiteY3" fmla="*/ 539261 h 679938"/>
                <a:gd name="connsiteX4" fmla="*/ 58615 w 228682"/>
                <a:gd name="connsiteY4" fmla="*/ 398584 h 679938"/>
                <a:gd name="connsiteX5" fmla="*/ 76200 w 228682"/>
                <a:gd name="connsiteY5" fmla="*/ 357553 h 679938"/>
                <a:gd name="connsiteX6" fmla="*/ 82061 w 228682"/>
                <a:gd name="connsiteY6" fmla="*/ 334107 h 679938"/>
                <a:gd name="connsiteX7" fmla="*/ 99646 w 228682"/>
                <a:gd name="connsiteY7" fmla="*/ 304800 h 679938"/>
                <a:gd name="connsiteX8" fmla="*/ 123092 w 228682"/>
                <a:gd name="connsiteY8" fmla="*/ 211015 h 679938"/>
                <a:gd name="connsiteX9" fmla="*/ 158261 w 228682"/>
                <a:gd name="connsiteY9" fmla="*/ 187569 h 679938"/>
                <a:gd name="connsiteX10" fmla="*/ 175846 w 228682"/>
                <a:gd name="connsiteY10" fmla="*/ 169984 h 679938"/>
                <a:gd name="connsiteX11" fmla="*/ 199292 w 228682"/>
                <a:gd name="connsiteY11" fmla="*/ 152400 h 679938"/>
                <a:gd name="connsiteX12" fmla="*/ 211015 w 228682"/>
                <a:gd name="connsiteY12" fmla="*/ 128953 h 679938"/>
                <a:gd name="connsiteX13" fmla="*/ 222738 w 228682"/>
                <a:gd name="connsiteY13" fmla="*/ 29307 h 679938"/>
                <a:gd name="connsiteX14" fmla="*/ 228600 w 228682"/>
                <a:gd name="connsiteY14" fmla="*/ 0 h 67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82" h="679938">
                  <a:moveTo>
                    <a:pt x="0" y="679938"/>
                  </a:moveTo>
                  <a:cubicBezTo>
                    <a:pt x="5862" y="668215"/>
                    <a:pt x="13177" y="657112"/>
                    <a:pt x="17585" y="644769"/>
                  </a:cubicBezTo>
                  <a:cubicBezTo>
                    <a:pt x="29470" y="611491"/>
                    <a:pt x="28666" y="595222"/>
                    <a:pt x="35169" y="562707"/>
                  </a:cubicBezTo>
                  <a:cubicBezTo>
                    <a:pt x="36749" y="554808"/>
                    <a:pt x="39077" y="547076"/>
                    <a:pt x="41031" y="539261"/>
                  </a:cubicBezTo>
                  <a:cubicBezTo>
                    <a:pt x="50607" y="366870"/>
                    <a:pt x="34690" y="486305"/>
                    <a:pt x="58615" y="398584"/>
                  </a:cubicBezTo>
                  <a:cubicBezTo>
                    <a:pt x="69033" y="360385"/>
                    <a:pt x="55507" y="378248"/>
                    <a:pt x="76200" y="357553"/>
                  </a:cubicBezTo>
                  <a:cubicBezTo>
                    <a:pt x="78154" y="349738"/>
                    <a:pt x="78458" y="341312"/>
                    <a:pt x="82061" y="334107"/>
                  </a:cubicBezTo>
                  <a:cubicBezTo>
                    <a:pt x="102798" y="292634"/>
                    <a:pt x="86845" y="356002"/>
                    <a:pt x="99646" y="304800"/>
                  </a:cubicBezTo>
                  <a:cubicBezTo>
                    <a:pt x="106515" y="277325"/>
                    <a:pt x="110405" y="232160"/>
                    <a:pt x="123092" y="211015"/>
                  </a:cubicBezTo>
                  <a:cubicBezTo>
                    <a:pt x="130341" y="198933"/>
                    <a:pt x="147140" y="196219"/>
                    <a:pt x="158261" y="187569"/>
                  </a:cubicBezTo>
                  <a:cubicBezTo>
                    <a:pt x="164804" y="182480"/>
                    <a:pt x="169552" y="175379"/>
                    <a:pt x="175846" y="169984"/>
                  </a:cubicBezTo>
                  <a:cubicBezTo>
                    <a:pt x="183263" y="163626"/>
                    <a:pt x="191477" y="158261"/>
                    <a:pt x="199292" y="152400"/>
                  </a:cubicBezTo>
                  <a:cubicBezTo>
                    <a:pt x="203200" y="144584"/>
                    <a:pt x="207947" y="137135"/>
                    <a:pt x="211015" y="128953"/>
                  </a:cubicBezTo>
                  <a:cubicBezTo>
                    <a:pt x="221968" y="99746"/>
                    <a:pt x="219701" y="53604"/>
                    <a:pt x="222738" y="29307"/>
                  </a:cubicBezTo>
                  <a:cubicBezTo>
                    <a:pt x="229836" y="-27476"/>
                    <a:pt x="228600" y="40349"/>
                    <a:pt x="228600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5DAA08EF-3CF9-3B68-4078-918C6483E085}"/>
                </a:ext>
              </a:extLst>
            </p:cNvPr>
            <p:cNvSpPr/>
            <p:nvPr/>
          </p:nvSpPr>
          <p:spPr bwMode="gray">
            <a:xfrm>
              <a:off x="8247413" y="3563595"/>
              <a:ext cx="709163" cy="571773"/>
            </a:xfrm>
            <a:custGeom>
              <a:avLst/>
              <a:gdLst>
                <a:gd name="connsiteX0" fmla="*/ 0 w 937846"/>
                <a:gd name="connsiteY0" fmla="*/ 0 h 756154"/>
                <a:gd name="connsiteX1" fmla="*/ 29308 w 937846"/>
                <a:gd name="connsiteY1" fmla="*/ 17585 h 756154"/>
                <a:gd name="connsiteX2" fmla="*/ 46892 w 937846"/>
                <a:gd name="connsiteY2" fmla="*/ 58615 h 756154"/>
                <a:gd name="connsiteX3" fmla="*/ 64477 w 937846"/>
                <a:gd name="connsiteY3" fmla="*/ 82062 h 756154"/>
                <a:gd name="connsiteX4" fmla="*/ 76200 w 937846"/>
                <a:gd name="connsiteY4" fmla="*/ 99646 h 756154"/>
                <a:gd name="connsiteX5" fmla="*/ 93785 w 937846"/>
                <a:gd name="connsiteY5" fmla="*/ 105508 h 756154"/>
                <a:gd name="connsiteX6" fmla="*/ 117231 w 937846"/>
                <a:gd name="connsiteY6" fmla="*/ 117231 h 756154"/>
                <a:gd name="connsiteX7" fmla="*/ 164123 w 937846"/>
                <a:gd name="connsiteY7" fmla="*/ 128954 h 756154"/>
                <a:gd name="connsiteX8" fmla="*/ 181708 w 937846"/>
                <a:gd name="connsiteY8" fmla="*/ 134815 h 756154"/>
                <a:gd name="connsiteX9" fmla="*/ 199292 w 937846"/>
                <a:gd name="connsiteY9" fmla="*/ 152400 h 756154"/>
                <a:gd name="connsiteX10" fmla="*/ 222738 w 937846"/>
                <a:gd name="connsiteY10" fmla="*/ 193431 h 756154"/>
                <a:gd name="connsiteX11" fmla="*/ 252046 w 937846"/>
                <a:gd name="connsiteY11" fmla="*/ 211015 h 756154"/>
                <a:gd name="connsiteX12" fmla="*/ 328246 w 937846"/>
                <a:gd name="connsiteY12" fmla="*/ 240323 h 756154"/>
                <a:gd name="connsiteX13" fmla="*/ 369277 w 937846"/>
                <a:gd name="connsiteY13" fmla="*/ 269631 h 756154"/>
                <a:gd name="connsiteX14" fmla="*/ 392723 w 937846"/>
                <a:gd name="connsiteY14" fmla="*/ 310662 h 756154"/>
                <a:gd name="connsiteX15" fmla="*/ 398585 w 937846"/>
                <a:gd name="connsiteY15" fmla="*/ 328246 h 756154"/>
                <a:gd name="connsiteX16" fmla="*/ 422031 w 937846"/>
                <a:gd name="connsiteY16" fmla="*/ 339969 h 756154"/>
                <a:gd name="connsiteX17" fmla="*/ 463061 w 937846"/>
                <a:gd name="connsiteY17" fmla="*/ 369277 h 756154"/>
                <a:gd name="connsiteX18" fmla="*/ 498231 w 937846"/>
                <a:gd name="connsiteY18" fmla="*/ 381000 h 756154"/>
                <a:gd name="connsiteX19" fmla="*/ 515815 w 937846"/>
                <a:gd name="connsiteY19" fmla="*/ 386862 h 756154"/>
                <a:gd name="connsiteX20" fmla="*/ 621323 w 937846"/>
                <a:gd name="connsiteY20" fmla="*/ 422031 h 756154"/>
                <a:gd name="connsiteX21" fmla="*/ 668215 w 937846"/>
                <a:gd name="connsiteY21" fmla="*/ 451339 h 756154"/>
                <a:gd name="connsiteX22" fmla="*/ 679938 w 937846"/>
                <a:gd name="connsiteY22" fmla="*/ 468923 h 756154"/>
                <a:gd name="connsiteX23" fmla="*/ 720969 w 937846"/>
                <a:gd name="connsiteY23" fmla="*/ 515815 h 756154"/>
                <a:gd name="connsiteX24" fmla="*/ 785446 w 937846"/>
                <a:gd name="connsiteY24" fmla="*/ 609600 h 756154"/>
                <a:gd name="connsiteX25" fmla="*/ 797169 w 937846"/>
                <a:gd name="connsiteY25" fmla="*/ 627185 h 756154"/>
                <a:gd name="connsiteX26" fmla="*/ 808892 w 937846"/>
                <a:gd name="connsiteY26" fmla="*/ 644769 h 756154"/>
                <a:gd name="connsiteX27" fmla="*/ 820615 w 937846"/>
                <a:gd name="connsiteY27" fmla="*/ 674077 h 756154"/>
                <a:gd name="connsiteX28" fmla="*/ 855785 w 937846"/>
                <a:gd name="connsiteY28" fmla="*/ 720969 h 756154"/>
                <a:gd name="connsiteX29" fmla="*/ 879231 w 937846"/>
                <a:gd name="connsiteY29" fmla="*/ 732692 h 756154"/>
                <a:gd name="connsiteX30" fmla="*/ 896815 w 937846"/>
                <a:gd name="connsiteY30" fmla="*/ 738554 h 756154"/>
                <a:gd name="connsiteX31" fmla="*/ 914400 w 937846"/>
                <a:gd name="connsiteY31" fmla="*/ 750277 h 756154"/>
                <a:gd name="connsiteX32" fmla="*/ 937846 w 937846"/>
                <a:gd name="connsiteY32" fmla="*/ 756139 h 75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37846" h="756154">
                  <a:moveTo>
                    <a:pt x="0" y="0"/>
                  </a:moveTo>
                  <a:cubicBezTo>
                    <a:pt x="9769" y="5862"/>
                    <a:pt x="21252" y="9529"/>
                    <a:pt x="29308" y="17585"/>
                  </a:cubicBezTo>
                  <a:cubicBezTo>
                    <a:pt x="44809" y="33086"/>
                    <a:pt x="37550" y="42266"/>
                    <a:pt x="46892" y="58615"/>
                  </a:cubicBezTo>
                  <a:cubicBezTo>
                    <a:pt x="51739" y="67097"/>
                    <a:pt x="58799" y="74112"/>
                    <a:pt x="64477" y="82062"/>
                  </a:cubicBezTo>
                  <a:cubicBezTo>
                    <a:pt x="68572" y="87794"/>
                    <a:pt x="70699" y="95245"/>
                    <a:pt x="76200" y="99646"/>
                  </a:cubicBezTo>
                  <a:cubicBezTo>
                    <a:pt x="81025" y="103506"/>
                    <a:pt x="88106" y="103074"/>
                    <a:pt x="93785" y="105508"/>
                  </a:cubicBezTo>
                  <a:cubicBezTo>
                    <a:pt x="101816" y="108950"/>
                    <a:pt x="108942" y="114468"/>
                    <a:pt x="117231" y="117231"/>
                  </a:cubicBezTo>
                  <a:cubicBezTo>
                    <a:pt x="132516" y="122326"/>
                    <a:pt x="148838" y="123860"/>
                    <a:pt x="164123" y="128954"/>
                  </a:cubicBezTo>
                  <a:lnTo>
                    <a:pt x="181708" y="134815"/>
                  </a:lnTo>
                  <a:cubicBezTo>
                    <a:pt x="187569" y="140677"/>
                    <a:pt x="194694" y="145503"/>
                    <a:pt x="199292" y="152400"/>
                  </a:cubicBezTo>
                  <a:cubicBezTo>
                    <a:pt x="219846" y="183232"/>
                    <a:pt x="183102" y="158750"/>
                    <a:pt x="222738" y="193431"/>
                  </a:cubicBezTo>
                  <a:cubicBezTo>
                    <a:pt x="231312" y="200933"/>
                    <a:pt x="242385" y="204977"/>
                    <a:pt x="252046" y="211015"/>
                  </a:cubicBezTo>
                  <a:cubicBezTo>
                    <a:pt x="291038" y="235385"/>
                    <a:pt x="250043" y="216863"/>
                    <a:pt x="328246" y="240323"/>
                  </a:cubicBezTo>
                  <a:cubicBezTo>
                    <a:pt x="338233" y="246981"/>
                    <a:pt x="362003" y="262357"/>
                    <a:pt x="369277" y="269631"/>
                  </a:cubicBezTo>
                  <a:cubicBezTo>
                    <a:pt x="376637" y="276991"/>
                    <a:pt x="389274" y="302614"/>
                    <a:pt x="392723" y="310662"/>
                  </a:cubicBezTo>
                  <a:cubicBezTo>
                    <a:pt x="395157" y="316341"/>
                    <a:pt x="394216" y="323877"/>
                    <a:pt x="398585" y="328246"/>
                  </a:cubicBezTo>
                  <a:cubicBezTo>
                    <a:pt x="404764" y="334424"/>
                    <a:pt x="414621" y="335338"/>
                    <a:pt x="422031" y="339969"/>
                  </a:cubicBezTo>
                  <a:cubicBezTo>
                    <a:pt x="427358" y="343299"/>
                    <a:pt x="454477" y="365462"/>
                    <a:pt x="463061" y="369277"/>
                  </a:cubicBezTo>
                  <a:cubicBezTo>
                    <a:pt x="474353" y="374296"/>
                    <a:pt x="486508" y="377092"/>
                    <a:pt x="498231" y="381000"/>
                  </a:cubicBezTo>
                  <a:lnTo>
                    <a:pt x="515815" y="386862"/>
                  </a:lnTo>
                  <a:cubicBezTo>
                    <a:pt x="569120" y="426839"/>
                    <a:pt x="508293" y="386338"/>
                    <a:pt x="621323" y="422031"/>
                  </a:cubicBezTo>
                  <a:cubicBezTo>
                    <a:pt x="628048" y="424155"/>
                    <a:pt x="658851" y="445096"/>
                    <a:pt x="668215" y="451339"/>
                  </a:cubicBezTo>
                  <a:cubicBezTo>
                    <a:pt x="672123" y="457200"/>
                    <a:pt x="675428" y="463511"/>
                    <a:pt x="679938" y="468923"/>
                  </a:cubicBezTo>
                  <a:cubicBezTo>
                    <a:pt x="721168" y="518398"/>
                    <a:pt x="670011" y="445258"/>
                    <a:pt x="720969" y="515815"/>
                  </a:cubicBezTo>
                  <a:cubicBezTo>
                    <a:pt x="748311" y="553672"/>
                    <a:pt x="763296" y="576375"/>
                    <a:pt x="785446" y="609600"/>
                  </a:cubicBezTo>
                  <a:lnTo>
                    <a:pt x="797169" y="627185"/>
                  </a:lnTo>
                  <a:cubicBezTo>
                    <a:pt x="801077" y="633046"/>
                    <a:pt x="806276" y="638228"/>
                    <a:pt x="808892" y="644769"/>
                  </a:cubicBezTo>
                  <a:cubicBezTo>
                    <a:pt x="812800" y="654538"/>
                    <a:pt x="815100" y="665116"/>
                    <a:pt x="820615" y="674077"/>
                  </a:cubicBezTo>
                  <a:cubicBezTo>
                    <a:pt x="830855" y="690717"/>
                    <a:pt x="838309" y="712231"/>
                    <a:pt x="855785" y="720969"/>
                  </a:cubicBezTo>
                  <a:cubicBezTo>
                    <a:pt x="863600" y="724877"/>
                    <a:pt x="871200" y="729250"/>
                    <a:pt x="879231" y="732692"/>
                  </a:cubicBezTo>
                  <a:cubicBezTo>
                    <a:pt x="884910" y="735126"/>
                    <a:pt x="891289" y="735791"/>
                    <a:pt x="896815" y="738554"/>
                  </a:cubicBezTo>
                  <a:cubicBezTo>
                    <a:pt x="903116" y="741705"/>
                    <a:pt x="908099" y="747126"/>
                    <a:pt x="914400" y="750277"/>
                  </a:cubicBezTo>
                  <a:cubicBezTo>
                    <a:pt x="927360" y="756757"/>
                    <a:pt x="927855" y="756139"/>
                    <a:pt x="937846" y="756139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D94B38FC-A656-7057-6131-2A66BDA2C976}"/>
                </a:ext>
              </a:extLst>
            </p:cNvPr>
            <p:cNvSpPr/>
            <p:nvPr/>
          </p:nvSpPr>
          <p:spPr bwMode="gray">
            <a:xfrm>
              <a:off x="6864546" y="3466085"/>
              <a:ext cx="274800" cy="248217"/>
            </a:xfrm>
            <a:custGeom>
              <a:avLst/>
              <a:gdLst>
                <a:gd name="connsiteX0" fmla="*/ 0 w 363415"/>
                <a:gd name="connsiteY0" fmla="*/ 0 h 328260"/>
                <a:gd name="connsiteX1" fmla="*/ 29308 w 363415"/>
                <a:gd name="connsiteY1" fmla="*/ 23446 h 328260"/>
                <a:gd name="connsiteX2" fmla="*/ 46892 w 363415"/>
                <a:gd name="connsiteY2" fmla="*/ 35169 h 328260"/>
                <a:gd name="connsiteX3" fmla="*/ 76200 w 363415"/>
                <a:gd name="connsiteY3" fmla="*/ 64477 h 328260"/>
                <a:gd name="connsiteX4" fmla="*/ 99646 w 363415"/>
                <a:gd name="connsiteY4" fmla="*/ 87923 h 328260"/>
                <a:gd name="connsiteX5" fmla="*/ 140677 w 363415"/>
                <a:gd name="connsiteY5" fmla="*/ 152400 h 328260"/>
                <a:gd name="connsiteX6" fmla="*/ 158261 w 363415"/>
                <a:gd name="connsiteY6" fmla="*/ 158262 h 328260"/>
                <a:gd name="connsiteX7" fmla="*/ 199292 w 363415"/>
                <a:gd name="connsiteY7" fmla="*/ 193431 h 328260"/>
                <a:gd name="connsiteX8" fmla="*/ 234461 w 363415"/>
                <a:gd name="connsiteY8" fmla="*/ 216877 h 328260"/>
                <a:gd name="connsiteX9" fmla="*/ 281354 w 363415"/>
                <a:gd name="connsiteY9" fmla="*/ 252046 h 328260"/>
                <a:gd name="connsiteX10" fmla="*/ 322385 w 363415"/>
                <a:gd name="connsiteY10" fmla="*/ 293077 h 328260"/>
                <a:gd name="connsiteX11" fmla="*/ 334108 w 363415"/>
                <a:gd name="connsiteY11" fmla="*/ 310662 h 328260"/>
                <a:gd name="connsiteX12" fmla="*/ 363415 w 363415"/>
                <a:gd name="connsiteY12" fmla="*/ 328246 h 32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3415" h="328260">
                  <a:moveTo>
                    <a:pt x="0" y="0"/>
                  </a:moveTo>
                  <a:cubicBezTo>
                    <a:pt x="9769" y="7815"/>
                    <a:pt x="19299" y="15940"/>
                    <a:pt x="29308" y="23446"/>
                  </a:cubicBezTo>
                  <a:cubicBezTo>
                    <a:pt x="34944" y="27673"/>
                    <a:pt x="41590" y="30530"/>
                    <a:pt x="46892" y="35169"/>
                  </a:cubicBezTo>
                  <a:cubicBezTo>
                    <a:pt x="57289" y="44267"/>
                    <a:pt x="66431" y="54708"/>
                    <a:pt x="76200" y="64477"/>
                  </a:cubicBezTo>
                  <a:lnTo>
                    <a:pt x="99646" y="87923"/>
                  </a:lnTo>
                  <a:cubicBezTo>
                    <a:pt x="111957" y="124858"/>
                    <a:pt x="106857" y="127035"/>
                    <a:pt x="140677" y="152400"/>
                  </a:cubicBezTo>
                  <a:cubicBezTo>
                    <a:pt x="145620" y="156107"/>
                    <a:pt x="152400" y="156308"/>
                    <a:pt x="158261" y="158262"/>
                  </a:cubicBezTo>
                  <a:cubicBezTo>
                    <a:pt x="171938" y="169985"/>
                    <a:pt x="185014" y="182448"/>
                    <a:pt x="199292" y="193431"/>
                  </a:cubicBezTo>
                  <a:cubicBezTo>
                    <a:pt x="210460" y="202021"/>
                    <a:pt x="224498" y="206915"/>
                    <a:pt x="234461" y="216877"/>
                  </a:cubicBezTo>
                  <a:cubicBezTo>
                    <a:pt x="264087" y="246501"/>
                    <a:pt x="248022" y="235380"/>
                    <a:pt x="281354" y="252046"/>
                  </a:cubicBezTo>
                  <a:cubicBezTo>
                    <a:pt x="295031" y="265723"/>
                    <a:pt x="311656" y="276983"/>
                    <a:pt x="322385" y="293077"/>
                  </a:cubicBezTo>
                  <a:cubicBezTo>
                    <a:pt x="326293" y="298939"/>
                    <a:pt x="329127" y="305681"/>
                    <a:pt x="334108" y="310662"/>
                  </a:cubicBezTo>
                  <a:cubicBezTo>
                    <a:pt x="352864" y="329418"/>
                    <a:pt x="349035" y="328246"/>
                    <a:pt x="363415" y="328246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9A62E8AA-D0A1-1201-FC67-C204BB7BC79A}"/>
                </a:ext>
              </a:extLst>
            </p:cNvPr>
            <p:cNvSpPr/>
            <p:nvPr/>
          </p:nvSpPr>
          <p:spPr bwMode="gray">
            <a:xfrm>
              <a:off x="6931029" y="3514840"/>
              <a:ext cx="177308" cy="70917"/>
            </a:xfrm>
            <a:custGeom>
              <a:avLst/>
              <a:gdLst>
                <a:gd name="connsiteX0" fmla="*/ 0 w 234484"/>
                <a:gd name="connsiteY0" fmla="*/ 0 h 93785"/>
                <a:gd name="connsiteX1" fmla="*/ 58615 w 234484"/>
                <a:gd name="connsiteY1" fmla="*/ 11723 h 93785"/>
                <a:gd name="connsiteX2" fmla="*/ 128954 w 234484"/>
                <a:gd name="connsiteY2" fmla="*/ 29308 h 93785"/>
                <a:gd name="connsiteX3" fmla="*/ 175846 w 234484"/>
                <a:gd name="connsiteY3" fmla="*/ 52754 h 93785"/>
                <a:gd name="connsiteX4" fmla="*/ 199292 w 234484"/>
                <a:gd name="connsiteY4" fmla="*/ 64477 h 93785"/>
                <a:gd name="connsiteX5" fmla="*/ 216877 w 234484"/>
                <a:gd name="connsiteY5" fmla="*/ 70339 h 93785"/>
                <a:gd name="connsiteX6" fmla="*/ 234462 w 234484"/>
                <a:gd name="connsiteY6" fmla="*/ 93785 h 9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484" h="93785">
                  <a:moveTo>
                    <a:pt x="0" y="0"/>
                  </a:moveTo>
                  <a:cubicBezTo>
                    <a:pt x="19538" y="3908"/>
                    <a:pt x="39456" y="6249"/>
                    <a:pt x="58615" y="11723"/>
                  </a:cubicBezTo>
                  <a:cubicBezTo>
                    <a:pt x="109226" y="26183"/>
                    <a:pt x="85698" y="20656"/>
                    <a:pt x="128954" y="29308"/>
                  </a:cubicBezTo>
                  <a:lnTo>
                    <a:pt x="175846" y="52754"/>
                  </a:lnTo>
                  <a:cubicBezTo>
                    <a:pt x="183661" y="56662"/>
                    <a:pt x="191003" y="61714"/>
                    <a:pt x="199292" y="64477"/>
                  </a:cubicBezTo>
                  <a:lnTo>
                    <a:pt x="216877" y="70339"/>
                  </a:lnTo>
                  <a:cubicBezTo>
                    <a:pt x="235844" y="89305"/>
                    <a:pt x="234462" y="79634"/>
                    <a:pt x="234462" y="9378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6FFF062-9752-886D-6210-6B2EB912A682}"/>
                </a:ext>
              </a:extLst>
            </p:cNvPr>
            <p:cNvSpPr/>
            <p:nvPr/>
          </p:nvSpPr>
          <p:spPr bwMode="gray">
            <a:xfrm>
              <a:off x="6895572" y="3399601"/>
              <a:ext cx="172858" cy="70917"/>
            </a:xfrm>
            <a:custGeom>
              <a:avLst/>
              <a:gdLst>
                <a:gd name="connsiteX0" fmla="*/ 0 w 228600"/>
                <a:gd name="connsiteY0" fmla="*/ 93785 h 93785"/>
                <a:gd name="connsiteX1" fmla="*/ 64477 w 228600"/>
                <a:gd name="connsiteY1" fmla="*/ 87923 h 93785"/>
                <a:gd name="connsiteX2" fmla="*/ 117230 w 228600"/>
                <a:gd name="connsiteY2" fmla="*/ 58616 h 93785"/>
                <a:gd name="connsiteX3" fmla="*/ 211015 w 228600"/>
                <a:gd name="connsiteY3" fmla="*/ 23446 h 93785"/>
                <a:gd name="connsiteX4" fmla="*/ 228600 w 228600"/>
                <a:gd name="connsiteY4" fmla="*/ 0 h 9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93785">
                  <a:moveTo>
                    <a:pt x="0" y="93785"/>
                  </a:moveTo>
                  <a:cubicBezTo>
                    <a:pt x="21492" y="91831"/>
                    <a:pt x="43315" y="92155"/>
                    <a:pt x="64477" y="87923"/>
                  </a:cubicBezTo>
                  <a:cubicBezTo>
                    <a:pt x="73485" y="86121"/>
                    <a:pt x="112540" y="61117"/>
                    <a:pt x="117230" y="58616"/>
                  </a:cubicBezTo>
                  <a:cubicBezTo>
                    <a:pt x="180181" y="25042"/>
                    <a:pt x="157723" y="32329"/>
                    <a:pt x="211015" y="23446"/>
                  </a:cubicBezTo>
                  <a:cubicBezTo>
                    <a:pt x="224271" y="3563"/>
                    <a:pt x="217757" y="10843"/>
                    <a:pt x="228600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349B011-A3D8-7681-226A-337F0C67005B}"/>
                </a:ext>
              </a:extLst>
            </p:cNvPr>
            <p:cNvSpPr/>
            <p:nvPr/>
          </p:nvSpPr>
          <p:spPr bwMode="gray">
            <a:xfrm>
              <a:off x="7095024" y="3426195"/>
              <a:ext cx="93077" cy="212748"/>
            </a:xfrm>
            <a:custGeom>
              <a:avLst/>
              <a:gdLst>
                <a:gd name="connsiteX0" fmla="*/ 0 w 123092"/>
                <a:gd name="connsiteY0" fmla="*/ 0 h 281354"/>
                <a:gd name="connsiteX1" fmla="*/ 29308 w 123092"/>
                <a:gd name="connsiteY1" fmla="*/ 11723 h 281354"/>
                <a:gd name="connsiteX2" fmla="*/ 52754 w 123092"/>
                <a:gd name="connsiteY2" fmla="*/ 52754 h 281354"/>
                <a:gd name="connsiteX3" fmla="*/ 58615 w 123092"/>
                <a:gd name="connsiteY3" fmla="*/ 76200 h 281354"/>
                <a:gd name="connsiteX4" fmla="*/ 64477 w 123092"/>
                <a:gd name="connsiteY4" fmla="*/ 111370 h 281354"/>
                <a:gd name="connsiteX5" fmla="*/ 82061 w 123092"/>
                <a:gd name="connsiteY5" fmla="*/ 128954 h 281354"/>
                <a:gd name="connsiteX6" fmla="*/ 123092 w 123092"/>
                <a:gd name="connsiteY6" fmla="*/ 169985 h 281354"/>
                <a:gd name="connsiteX7" fmla="*/ 111369 w 123092"/>
                <a:gd name="connsiteY7" fmla="*/ 199293 h 281354"/>
                <a:gd name="connsiteX8" fmla="*/ 87923 w 123092"/>
                <a:gd name="connsiteY8" fmla="*/ 216877 h 281354"/>
                <a:gd name="connsiteX9" fmla="*/ 70338 w 123092"/>
                <a:gd name="connsiteY9" fmla="*/ 240323 h 281354"/>
                <a:gd name="connsiteX10" fmla="*/ 52754 w 123092"/>
                <a:gd name="connsiteY10" fmla="*/ 281354 h 28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092" h="281354">
                  <a:moveTo>
                    <a:pt x="0" y="0"/>
                  </a:moveTo>
                  <a:cubicBezTo>
                    <a:pt x="9769" y="3908"/>
                    <a:pt x="20891" y="5410"/>
                    <a:pt x="29308" y="11723"/>
                  </a:cubicBezTo>
                  <a:cubicBezTo>
                    <a:pt x="43507" y="22372"/>
                    <a:pt x="48288" y="37122"/>
                    <a:pt x="52754" y="52754"/>
                  </a:cubicBezTo>
                  <a:cubicBezTo>
                    <a:pt x="54967" y="60500"/>
                    <a:pt x="57035" y="68301"/>
                    <a:pt x="58615" y="76200"/>
                  </a:cubicBezTo>
                  <a:cubicBezTo>
                    <a:pt x="60946" y="87854"/>
                    <a:pt x="59650" y="100509"/>
                    <a:pt x="64477" y="111370"/>
                  </a:cubicBezTo>
                  <a:cubicBezTo>
                    <a:pt x="67844" y="118945"/>
                    <a:pt x="75823" y="123496"/>
                    <a:pt x="82061" y="128954"/>
                  </a:cubicBezTo>
                  <a:cubicBezTo>
                    <a:pt x="121047" y="163066"/>
                    <a:pt x="102077" y="138462"/>
                    <a:pt x="123092" y="169985"/>
                  </a:cubicBezTo>
                  <a:cubicBezTo>
                    <a:pt x="119184" y="179754"/>
                    <a:pt x="117682" y="190876"/>
                    <a:pt x="111369" y="199293"/>
                  </a:cubicBezTo>
                  <a:cubicBezTo>
                    <a:pt x="105508" y="207108"/>
                    <a:pt x="94831" y="209969"/>
                    <a:pt x="87923" y="216877"/>
                  </a:cubicBezTo>
                  <a:cubicBezTo>
                    <a:pt x="81015" y="223785"/>
                    <a:pt x="76200" y="232508"/>
                    <a:pt x="70338" y="240323"/>
                  </a:cubicBezTo>
                  <a:cubicBezTo>
                    <a:pt x="63393" y="275050"/>
                    <a:pt x="71522" y="262586"/>
                    <a:pt x="52754" y="281354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BED37A0-FFF6-6268-5822-261CDBADA77F}"/>
                </a:ext>
              </a:extLst>
            </p:cNvPr>
            <p:cNvSpPr/>
            <p:nvPr/>
          </p:nvSpPr>
          <p:spPr bwMode="gray">
            <a:xfrm>
              <a:off x="6886708" y="3528138"/>
              <a:ext cx="48755" cy="48755"/>
            </a:xfrm>
            <a:custGeom>
              <a:avLst/>
              <a:gdLst>
                <a:gd name="connsiteX0" fmla="*/ 0 w 64477"/>
                <a:gd name="connsiteY0" fmla="*/ 64477 h 64477"/>
                <a:gd name="connsiteX1" fmla="*/ 46892 w 64477"/>
                <a:gd name="connsiteY1" fmla="*/ 5861 h 64477"/>
                <a:gd name="connsiteX2" fmla="*/ 64477 w 64477"/>
                <a:gd name="connsiteY2" fmla="*/ 0 h 6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77" h="64477">
                  <a:moveTo>
                    <a:pt x="0" y="64477"/>
                  </a:moveTo>
                  <a:cubicBezTo>
                    <a:pt x="15631" y="44938"/>
                    <a:pt x="23154" y="13773"/>
                    <a:pt x="46892" y="5861"/>
                  </a:cubicBezTo>
                  <a:lnTo>
                    <a:pt x="64477" y="0"/>
                  </a:ln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0F713B0E-43AB-78AE-CF42-CC052AB31779}"/>
                </a:ext>
              </a:extLst>
            </p:cNvPr>
            <p:cNvSpPr/>
            <p:nvPr/>
          </p:nvSpPr>
          <p:spPr bwMode="gray">
            <a:xfrm>
              <a:off x="7564831" y="3541434"/>
              <a:ext cx="115509" cy="749052"/>
            </a:xfrm>
            <a:custGeom>
              <a:avLst/>
              <a:gdLst>
                <a:gd name="connsiteX0" fmla="*/ 58631 w 152756"/>
                <a:gd name="connsiteY0" fmla="*/ 990600 h 990600"/>
                <a:gd name="connsiteX1" fmla="*/ 29324 w 152756"/>
                <a:gd name="connsiteY1" fmla="*/ 937847 h 990600"/>
                <a:gd name="connsiteX2" fmla="*/ 23462 w 152756"/>
                <a:gd name="connsiteY2" fmla="*/ 908539 h 990600"/>
                <a:gd name="connsiteX3" fmla="*/ 41047 w 152756"/>
                <a:gd name="connsiteY3" fmla="*/ 820616 h 990600"/>
                <a:gd name="connsiteX4" fmla="*/ 52770 w 152756"/>
                <a:gd name="connsiteY4" fmla="*/ 762000 h 990600"/>
                <a:gd name="connsiteX5" fmla="*/ 76216 w 152756"/>
                <a:gd name="connsiteY5" fmla="*/ 697523 h 990600"/>
                <a:gd name="connsiteX6" fmla="*/ 93801 w 152756"/>
                <a:gd name="connsiteY6" fmla="*/ 662354 h 990600"/>
                <a:gd name="connsiteX7" fmla="*/ 99662 w 152756"/>
                <a:gd name="connsiteY7" fmla="*/ 633047 h 990600"/>
                <a:gd name="connsiteX8" fmla="*/ 87939 w 152756"/>
                <a:gd name="connsiteY8" fmla="*/ 568570 h 990600"/>
                <a:gd name="connsiteX9" fmla="*/ 76216 w 152756"/>
                <a:gd name="connsiteY9" fmla="*/ 539262 h 990600"/>
                <a:gd name="connsiteX10" fmla="*/ 64493 w 152756"/>
                <a:gd name="connsiteY10" fmla="*/ 521677 h 990600"/>
                <a:gd name="connsiteX11" fmla="*/ 35185 w 152756"/>
                <a:gd name="connsiteY11" fmla="*/ 474785 h 990600"/>
                <a:gd name="connsiteX12" fmla="*/ 29324 w 152756"/>
                <a:gd name="connsiteY12" fmla="*/ 457200 h 990600"/>
                <a:gd name="connsiteX13" fmla="*/ 11739 w 152756"/>
                <a:gd name="connsiteY13" fmla="*/ 439616 h 990600"/>
                <a:gd name="connsiteX14" fmla="*/ 16 w 152756"/>
                <a:gd name="connsiteY14" fmla="*/ 416170 h 990600"/>
                <a:gd name="connsiteX15" fmla="*/ 17601 w 152756"/>
                <a:gd name="connsiteY15" fmla="*/ 322385 h 990600"/>
                <a:gd name="connsiteX16" fmla="*/ 23462 w 152756"/>
                <a:gd name="connsiteY16" fmla="*/ 304800 h 990600"/>
                <a:gd name="connsiteX17" fmla="*/ 41047 w 152756"/>
                <a:gd name="connsiteY17" fmla="*/ 281354 h 990600"/>
                <a:gd name="connsiteX18" fmla="*/ 58631 w 152756"/>
                <a:gd name="connsiteY18" fmla="*/ 240323 h 990600"/>
                <a:gd name="connsiteX19" fmla="*/ 70354 w 152756"/>
                <a:gd name="connsiteY19" fmla="*/ 216877 h 990600"/>
                <a:gd name="connsiteX20" fmla="*/ 76216 w 152756"/>
                <a:gd name="connsiteY20" fmla="*/ 199293 h 990600"/>
                <a:gd name="connsiteX21" fmla="*/ 87939 w 152756"/>
                <a:gd name="connsiteY21" fmla="*/ 175847 h 990600"/>
                <a:gd name="connsiteX22" fmla="*/ 99662 w 152756"/>
                <a:gd name="connsiteY22" fmla="*/ 134816 h 990600"/>
                <a:gd name="connsiteX23" fmla="*/ 105524 w 152756"/>
                <a:gd name="connsiteY23" fmla="*/ 117231 h 990600"/>
                <a:gd name="connsiteX24" fmla="*/ 128970 w 152756"/>
                <a:gd name="connsiteY24" fmla="*/ 76200 h 990600"/>
                <a:gd name="connsiteX25" fmla="*/ 146554 w 152756"/>
                <a:gd name="connsiteY25" fmla="*/ 29308 h 990600"/>
                <a:gd name="connsiteX26" fmla="*/ 152416 w 152756"/>
                <a:gd name="connsiteY26" fmla="*/ 11723 h 990600"/>
                <a:gd name="connsiteX27" fmla="*/ 152416 w 152756"/>
                <a:gd name="connsiteY27" fmla="*/ 0 h 990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2756" h="990600">
                  <a:moveTo>
                    <a:pt x="58631" y="990600"/>
                  </a:moveTo>
                  <a:cubicBezTo>
                    <a:pt x="52997" y="981210"/>
                    <a:pt x="33528" y="950460"/>
                    <a:pt x="29324" y="937847"/>
                  </a:cubicBezTo>
                  <a:cubicBezTo>
                    <a:pt x="26173" y="928395"/>
                    <a:pt x="25416" y="918308"/>
                    <a:pt x="23462" y="908539"/>
                  </a:cubicBezTo>
                  <a:cubicBezTo>
                    <a:pt x="38068" y="806304"/>
                    <a:pt x="18433" y="933686"/>
                    <a:pt x="41047" y="820616"/>
                  </a:cubicBezTo>
                  <a:cubicBezTo>
                    <a:pt x="44955" y="801077"/>
                    <a:pt x="46469" y="780903"/>
                    <a:pt x="52770" y="762000"/>
                  </a:cubicBezTo>
                  <a:cubicBezTo>
                    <a:pt x="77390" y="688140"/>
                    <a:pt x="51755" y="762750"/>
                    <a:pt x="76216" y="697523"/>
                  </a:cubicBezTo>
                  <a:cubicBezTo>
                    <a:pt x="86616" y="669791"/>
                    <a:pt x="76017" y="689030"/>
                    <a:pt x="93801" y="662354"/>
                  </a:cubicBezTo>
                  <a:cubicBezTo>
                    <a:pt x="95755" y="652585"/>
                    <a:pt x="99662" y="643009"/>
                    <a:pt x="99662" y="633047"/>
                  </a:cubicBezTo>
                  <a:cubicBezTo>
                    <a:pt x="99662" y="606904"/>
                    <a:pt x="96184" y="590555"/>
                    <a:pt x="87939" y="568570"/>
                  </a:cubicBezTo>
                  <a:cubicBezTo>
                    <a:pt x="84244" y="558718"/>
                    <a:pt x="80921" y="548673"/>
                    <a:pt x="76216" y="539262"/>
                  </a:cubicBezTo>
                  <a:cubicBezTo>
                    <a:pt x="73066" y="532961"/>
                    <a:pt x="68401" y="527539"/>
                    <a:pt x="64493" y="521677"/>
                  </a:cubicBezTo>
                  <a:cubicBezTo>
                    <a:pt x="52920" y="463819"/>
                    <a:pt x="70322" y="516951"/>
                    <a:pt x="35185" y="474785"/>
                  </a:cubicBezTo>
                  <a:cubicBezTo>
                    <a:pt x="31230" y="470038"/>
                    <a:pt x="32751" y="462341"/>
                    <a:pt x="29324" y="457200"/>
                  </a:cubicBezTo>
                  <a:cubicBezTo>
                    <a:pt x="24726" y="450303"/>
                    <a:pt x="17601" y="445477"/>
                    <a:pt x="11739" y="439616"/>
                  </a:cubicBezTo>
                  <a:cubicBezTo>
                    <a:pt x="7831" y="431801"/>
                    <a:pt x="-420" y="424897"/>
                    <a:pt x="16" y="416170"/>
                  </a:cubicBezTo>
                  <a:cubicBezTo>
                    <a:pt x="1604" y="384403"/>
                    <a:pt x="7544" y="352560"/>
                    <a:pt x="17601" y="322385"/>
                  </a:cubicBezTo>
                  <a:cubicBezTo>
                    <a:pt x="19555" y="316523"/>
                    <a:pt x="20397" y="310165"/>
                    <a:pt x="23462" y="304800"/>
                  </a:cubicBezTo>
                  <a:cubicBezTo>
                    <a:pt x="28309" y="296318"/>
                    <a:pt x="35869" y="289638"/>
                    <a:pt x="41047" y="281354"/>
                  </a:cubicBezTo>
                  <a:cubicBezTo>
                    <a:pt x="58722" y="253075"/>
                    <a:pt x="47752" y="265707"/>
                    <a:pt x="58631" y="240323"/>
                  </a:cubicBezTo>
                  <a:cubicBezTo>
                    <a:pt x="62073" y="232292"/>
                    <a:pt x="66912" y="224908"/>
                    <a:pt x="70354" y="216877"/>
                  </a:cubicBezTo>
                  <a:cubicBezTo>
                    <a:pt x="72788" y="211198"/>
                    <a:pt x="73782" y="204972"/>
                    <a:pt x="76216" y="199293"/>
                  </a:cubicBezTo>
                  <a:cubicBezTo>
                    <a:pt x="79658" y="191262"/>
                    <a:pt x="84953" y="184059"/>
                    <a:pt x="87939" y="175847"/>
                  </a:cubicBezTo>
                  <a:cubicBezTo>
                    <a:pt x="92800" y="162479"/>
                    <a:pt x="95575" y="148440"/>
                    <a:pt x="99662" y="134816"/>
                  </a:cubicBezTo>
                  <a:cubicBezTo>
                    <a:pt x="101437" y="128898"/>
                    <a:pt x="103090" y="122910"/>
                    <a:pt x="105524" y="117231"/>
                  </a:cubicBezTo>
                  <a:cubicBezTo>
                    <a:pt x="114448" y="96408"/>
                    <a:pt x="117197" y="93860"/>
                    <a:pt x="128970" y="76200"/>
                  </a:cubicBezTo>
                  <a:cubicBezTo>
                    <a:pt x="142270" y="36298"/>
                    <a:pt x="125534" y="85360"/>
                    <a:pt x="146554" y="29308"/>
                  </a:cubicBezTo>
                  <a:cubicBezTo>
                    <a:pt x="148724" y="23523"/>
                    <a:pt x="151204" y="17782"/>
                    <a:pt x="152416" y="11723"/>
                  </a:cubicBezTo>
                  <a:cubicBezTo>
                    <a:pt x="153182" y="7891"/>
                    <a:pt x="152416" y="3908"/>
                    <a:pt x="152416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A581F407-3582-9D08-E631-E0B7D8218806}"/>
                </a:ext>
              </a:extLst>
            </p:cNvPr>
            <p:cNvSpPr/>
            <p:nvPr/>
          </p:nvSpPr>
          <p:spPr bwMode="gray">
            <a:xfrm>
              <a:off x="8274007" y="3302092"/>
              <a:ext cx="144732" cy="239342"/>
            </a:xfrm>
            <a:custGeom>
              <a:avLst/>
              <a:gdLst>
                <a:gd name="connsiteX0" fmla="*/ 0 w 191403"/>
                <a:gd name="connsiteY0" fmla="*/ 316523 h 316523"/>
                <a:gd name="connsiteX1" fmla="*/ 29308 w 191403"/>
                <a:gd name="connsiteY1" fmla="*/ 287216 h 316523"/>
                <a:gd name="connsiteX2" fmla="*/ 64477 w 191403"/>
                <a:gd name="connsiteY2" fmla="*/ 216877 h 316523"/>
                <a:gd name="connsiteX3" fmla="*/ 123092 w 191403"/>
                <a:gd name="connsiteY3" fmla="*/ 222739 h 316523"/>
                <a:gd name="connsiteX4" fmla="*/ 146539 w 191403"/>
                <a:gd name="connsiteY4" fmla="*/ 134816 h 316523"/>
                <a:gd name="connsiteX5" fmla="*/ 181708 w 191403"/>
                <a:gd name="connsiteY5" fmla="*/ 128954 h 316523"/>
                <a:gd name="connsiteX6" fmla="*/ 187569 w 191403"/>
                <a:gd name="connsiteY6" fmla="*/ 0 h 316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403" h="316523">
                  <a:moveTo>
                    <a:pt x="0" y="316523"/>
                  </a:moveTo>
                  <a:cubicBezTo>
                    <a:pt x="9769" y="306754"/>
                    <a:pt x="24177" y="300044"/>
                    <a:pt x="29308" y="287216"/>
                  </a:cubicBezTo>
                  <a:cubicBezTo>
                    <a:pt x="60890" y="208261"/>
                    <a:pt x="3716" y="241181"/>
                    <a:pt x="64477" y="216877"/>
                  </a:cubicBezTo>
                  <a:cubicBezTo>
                    <a:pt x="84015" y="218831"/>
                    <a:pt x="103514" y="224245"/>
                    <a:pt x="123092" y="222739"/>
                  </a:cubicBezTo>
                  <a:cubicBezTo>
                    <a:pt x="160107" y="219892"/>
                    <a:pt x="146525" y="134844"/>
                    <a:pt x="146539" y="134816"/>
                  </a:cubicBezTo>
                  <a:cubicBezTo>
                    <a:pt x="151854" y="124186"/>
                    <a:pt x="169985" y="130908"/>
                    <a:pt x="181708" y="128954"/>
                  </a:cubicBezTo>
                  <a:cubicBezTo>
                    <a:pt x="199308" y="76152"/>
                    <a:pt x="187569" y="117548"/>
                    <a:pt x="187569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78DEA94-0906-55E1-913A-9A3E0BFD5DFA}"/>
                </a:ext>
              </a:extLst>
            </p:cNvPr>
            <p:cNvSpPr/>
            <p:nvPr/>
          </p:nvSpPr>
          <p:spPr bwMode="gray">
            <a:xfrm>
              <a:off x="8522214" y="3257769"/>
              <a:ext cx="589492" cy="319188"/>
            </a:xfrm>
            <a:custGeom>
              <a:avLst/>
              <a:gdLst>
                <a:gd name="connsiteX0" fmla="*/ 0 w 779585"/>
                <a:gd name="connsiteY0" fmla="*/ 0 h 422116"/>
                <a:gd name="connsiteX1" fmla="*/ 17585 w 779585"/>
                <a:gd name="connsiteY1" fmla="*/ 35169 h 422116"/>
                <a:gd name="connsiteX2" fmla="*/ 29308 w 779585"/>
                <a:gd name="connsiteY2" fmla="*/ 76200 h 422116"/>
                <a:gd name="connsiteX3" fmla="*/ 35170 w 779585"/>
                <a:gd name="connsiteY3" fmla="*/ 93785 h 422116"/>
                <a:gd name="connsiteX4" fmla="*/ 46893 w 779585"/>
                <a:gd name="connsiteY4" fmla="*/ 199292 h 422116"/>
                <a:gd name="connsiteX5" fmla="*/ 52754 w 779585"/>
                <a:gd name="connsiteY5" fmla="*/ 234461 h 422116"/>
                <a:gd name="connsiteX6" fmla="*/ 70339 w 779585"/>
                <a:gd name="connsiteY6" fmla="*/ 310661 h 422116"/>
                <a:gd name="connsiteX7" fmla="*/ 87923 w 779585"/>
                <a:gd name="connsiteY7" fmla="*/ 316523 h 422116"/>
                <a:gd name="connsiteX8" fmla="*/ 216877 w 779585"/>
                <a:gd name="connsiteY8" fmla="*/ 310661 h 422116"/>
                <a:gd name="connsiteX9" fmla="*/ 234462 w 779585"/>
                <a:gd name="connsiteY9" fmla="*/ 304800 h 422116"/>
                <a:gd name="connsiteX10" fmla="*/ 263770 w 779585"/>
                <a:gd name="connsiteY10" fmla="*/ 298938 h 422116"/>
                <a:gd name="connsiteX11" fmla="*/ 345831 w 779585"/>
                <a:gd name="connsiteY11" fmla="*/ 322385 h 422116"/>
                <a:gd name="connsiteX12" fmla="*/ 404446 w 779585"/>
                <a:gd name="connsiteY12" fmla="*/ 351692 h 422116"/>
                <a:gd name="connsiteX13" fmla="*/ 433754 w 779585"/>
                <a:gd name="connsiteY13" fmla="*/ 381000 h 422116"/>
                <a:gd name="connsiteX14" fmla="*/ 451339 w 779585"/>
                <a:gd name="connsiteY14" fmla="*/ 398585 h 422116"/>
                <a:gd name="connsiteX15" fmla="*/ 457200 w 779585"/>
                <a:gd name="connsiteY15" fmla="*/ 416169 h 422116"/>
                <a:gd name="connsiteX16" fmla="*/ 492370 w 779585"/>
                <a:gd name="connsiteY16" fmla="*/ 392723 h 422116"/>
                <a:gd name="connsiteX17" fmla="*/ 509954 w 779585"/>
                <a:gd name="connsiteY17" fmla="*/ 375138 h 422116"/>
                <a:gd name="connsiteX18" fmla="*/ 556846 w 779585"/>
                <a:gd name="connsiteY18" fmla="*/ 363415 h 422116"/>
                <a:gd name="connsiteX19" fmla="*/ 633046 w 779585"/>
                <a:gd name="connsiteY19" fmla="*/ 369277 h 422116"/>
                <a:gd name="connsiteX20" fmla="*/ 662354 w 779585"/>
                <a:gd name="connsiteY20" fmla="*/ 375138 h 422116"/>
                <a:gd name="connsiteX21" fmla="*/ 703385 w 779585"/>
                <a:gd name="connsiteY21" fmla="*/ 404446 h 422116"/>
                <a:gd name="connsiteX22" fmla="*/ 726831 w 779585"/>
                <a:gd name="connsiteY22" fmla="*/ 410308 h 422116"/>
                <a:gd name="connsiteX23" fmla="*/ 779585 w 779585"/>
                <a:gd name="connsiteY23" fmla="*/ 422031 h 42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79585" h="422116">
                  <a:moveTo>
                    <a:pt x="0" y="0"/>
                  </a:moveTo>
                  <a:cubicBezTo>
                    <a:pt x="5862" y="11723"/>
                    <a:pt x="12880" y="22936"/>
                    <a:pt x="17585" y="35169"/>
                  </a:cubicBezTo>
                  <a:cubicBezTo>
                    <a:pt x="22691" y="48445"/>
                    <a:pt x="25221" y="62576"/>
                    <a:pt x="29308" y="76200"/>
                  </a:cubicBezTo>
                  <a:cubicBezTo>
                    <a:pt x="31083" y="82118"/>
                    <a:pt x="33216" y="87923"/>
                    <a:pt x="35170" y="93785"/>
                  </a:cubicBezTo>
                  <a:cubicBezTo>
                    <a:pt x="39154" y="133627"/>
                    <a:pt x="41359" y="160551"/>
                    <a:pt x="46893" y="199292"/>
                  </a:cubicBezTo>
                  <a:cubicBezTo>
                    <a:pt x="48574" y="211057"/>
                    <a:pt x="50947" y="222715"/>
                    <a:pt x="52754" y="234461"/>
                  </a:cubicBezTo>
                  <a:cubicBezTo>
                    <a:pt x="53200" y="237360"/>
                    <a:pt x="60654" y="307432"/>
                    <a:pt x="70339" y="310661"/>
                  </a:cubicBezTo>
                  <a:lnTo>
                    <a:pt x="87923" y="316523"/>
                  </a:lnTo>
                  <a:cubicBezTo>
                    <a:pt x="130908" y="314569"/>
                    <a:pt x="173985" y="314092"/>
                    <a:pt x="216877" y="310661"/>
                  </a:cubicBezTo>
                  <a:cubicBezTo>
                    <a:pt x="223036" y="310168"/>
                    <a:pt x="228468" y="306299"/>
                    <a:pt x="234462" y="304800"/>
                  </a:cubicBezTo>
                  <a:cubicBezTo>
                    <a:pt x="244127" y="302384"/>
                    <a:pt x="254001" y="300892"/>
                    <a:pt x="263770" y="298938"/>
                  </a:cubicBezTo>
                  <a:cubicBezTo>
                    <a:pt x="338755" y="307270"/>
                    <a:pt x="294327" y="294917"/>
                    <a:pt x="345831" y="322385"/>
                  </a:cubicBezTo>
                  <a:cubicBezTo>
                    <a:pt x="365106" y="332665"/>
                    <a:pt x="389000" y="336246"/>
                    <a:pt x="404446" y="351692"/>
                  </a:cubicBezTo>
                  <a:lnTo>
                    <a:pt x="433754" y="381000"/>
                  </a:lnTo>
                  <a:lnTo>
                    <a:pt x="451339" y="398585"/>
                  </a:lnTo>
                  <a:cubicBezTo>
                    <a:pt x="453293" y="404446"/>
                    <a:pt x="451464" y="413874"/>
                    <a:pt x="457200" y="416169"/>
                  </a:cubicBezTo>
                  <a:cubicBezTo>
                    <a:pt x="478650" y="424749"/>
                    <a:pt x="483900" y="402887"/>
                    <a:pt x="492370" y="392723"/>
                  </a:cubicBezTo>
                  <a:cubicBezTo>
                    <a:pt x="497677" y="386355"/>
                    <a:pt x="503057" y="379736"/>
                    <a:pt x="509954" y="375138"/>
                  </a:cubicBezTo>
                  <a:cubicBezTo>
                    <a:pt x="517676" y="369990"/>
                    <a:pt x="552623" y="364260"/>
                    <a:pt x="556846" y="363415"/>
                  </a:cubicBezTo>
                  <a:cubicBezTo>
                    <a:pt x="582246" y="365369"/>
                    <a:pt x="607727" y="366464"/>
                    <a:pt x="633046" y="369277"/>
                  </a:cubicBezTo>
                  <a:cubicBezTo>
                    <a:pt x="642948" y="370377"/>
                    <a:pt x="653443" y="370683"/>
                    <a:pt x="662354" y="375138"/>
                  </a:cubicBezTo>
                  <a:cubicBezTo>
                    <a:pt x="677387" y="382655"/>
                    <a:pt x="688630" y="396397"/>
                    <a:pt x="703385" y="404446"/>
                  </a:cubicBezTo>
                  <a:cubicBezTo>
                    <a:pt x="710457" y="408304"/>
                    <a:pt x="719115" y="407993"/>
                    <a:pt x="726831" y="410308"/>
                  </a:cubicBezTo>
                  <a:cubicBezTo>
                    <a:pt x="772085" y="423885"/>
                    <a:pt x="747497" y="422031"/>
                    <a:pt x="779585" y="422031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rm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A90B369-012D-077C-426B-AD1AC50228B5}"/>
                </a:ext>
              </a:extLst>
            </p:cNvPr>
            <p:cNvSpPr/>
            <p:nvPr/>
          </p:nvSpPr>
          <p:spPr bwMode="gray">
            <a:xfrm>
              <a:off x="7467334" y="4429217"/>
              <a:ext cx="146280" cy="53186"/>
            </a:xfrm>
            <a:custGeom>
              <a:avLst/>
              <a:gdLst>
                <a:gd name="connsiteX0" fmla="*/ 0 w 193451"/>
                <a:gd name="connsiteY0" fmla="*/ 70338 h 70338"/>
                <a:gd name="connsiteX1" fmla="*/ 64477 w 193451"/>
                <a:gd name="connsiteY1" fmla="*/ 35169 h 70338"/>
                <a:gd name="connsiteX2" fmla="*/ 99646 w 193451"/>
                <a:gd name="connsiteY2" fmla="*/ 23446 h 70338"/>
                <a:gd name="connsiteX3" fmla="*/ 193431 w 193451"/>
                <a:gd name="connsiteY3" fmla="*/ 0 h 7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451" h="70338">
                  <a:moveTo>
                    <a:pt x="0" y="70338"/>
                  </a:moveTo>
                  <a:cubicBezTo>
                    <a:pt x="38957" y="39173"/>
                    <a:pt x="17439" y="50848"/>
                    <a:pt x="64477" y="35169"/>
                  </a:cubicBezTo>
                  <a:cubicBezTo>
                    <a:pt x="76200" y="31261"/>
                    <a:pt x="87384" y="24979"/>
                    <a:pt x="99646" y="23446"/>
                  </a:cubicBezTo>
                  <a:cubicBezTo>
                    <a:pt x="197308" y="11238"/>
                    <a:pt x="193431" y="43228"/>
                    <a:pt x="193431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1192474F-530C-5E2E-D8A0-B5FC92936E73}"/>
                </a:ext>
              </a:extLst>
            </p:cNvPr>
            <p:cNvSpPr/>
            <p:nvPr/>
          </p:nvSpPr>
          <p:spPr bwMode="gray">
            <a:xfrm>
              <a:off x="7423012" y="4277189"/>
              <a:ext cx="177291" cy="97510"/>
            </a:xfrm>
            <a:custGeom>
              <a:avLst/>
              <a:gdLst>
                <a:gd name="connsiteX0" fmla="*/ 0 w 234461"/>
                <a:gd name="connsiteY0" fmla="*/ 128954 h 128954"/>
                <a:gd name="connsiteX1" fmla="*/ 29307 w 234461"/>
                <a:gd name="connsiteY1" fmla="*/ 105507 h 128954"/>
                <a:gd name="connsiteX2" fmla="*/ 41031 w 234461"/>
                <a:gd name="connsiteY2" fmla="*/ 82061 h 128954"/>
                <a:gd name="connsiteX3" fmla="*/ 58615 w 234461"/>
                <a:gd name="connsiteY3" fmla="*/ 64477 h 128954"/>
                <a:gd name="connsiteX4" fmla="*/ 128954 w 234461"/>
                <a:gd name="connsiteY4" fmla="*/ 70338 h 128954"/>
                <a:gd name="connsiteX5" fmla="*/ 164123 w 234461"/>
                <a:gd name="connsiteY5" fmla="*/ 35169 h 128954"/>
                <a:gd name="connsiteX6" fmla="*/ 193431 w 234461"/>
                <a:gd name="connsiteY6" fmla="*/ 23446 h 128954"/>
                <a:gd name="connsiteX7" fmla="*/ 211015 w 234461"/>
                <a:gd name="connsiteY7" fmla="*/ 11723 h 128954"/>
                <a:gd name="connsiteX8" fmla="*/ 234461 w 234461"/>
                <a:gd name="connsiteY8" fmla="*/ 0 h 12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461" h="128954">
                  <a:moveTo>
                    <a:pt x="0" y="128954"/>
                  </a:moveTo>
                  <a:cubicBezTo>
                    <a:pt x="9769" y="121138"/>
                    <a:pt x="21069" y="114922"/>
                    <a:pt x="29307" y="105507"/>
                  </a:cubicBezTo>
                  <a:cubicBezTo>
                    <a:pt x="35061" y="98931"/>
                    <a:pt x="35952" y="89171"/>
                    <a:pt x="41031" y="82061"/>
                  </a:cubicBezTo>
                  <a:cubicBezTo>
                    <a:pt x="45849" y="75316"/>
                    <a:pt x="52754" y="70338"/>
                    <a:pt x="58615" y="64477"/>
                  </a:cubicBezTo>
                  <a:cubicBezTo>
                    <a:pt x="82061" y="66431"/>
                    <a:pt x="106285" y="76635"/>
                    <a:pt x="128954" y="70338"/>
                  </a:cubicBezTo>
                  <a:cubicBezTo>
                    <a:pt x="144928" y="65901"/>
                    <a:pt x="148730" y="41326"/>
                    <a:pt x="164123" y="35169"/>
                  </a:cubicBezTo>
                  <a:cubicBezTo>
                    <a:pt x="173892" y="31261"/>
                    <a:pt x="184020" y="28152"/>
                    <a:pt x="193431" y="23446"/>
                  </a:cubicBezTo>
                  <a:cubicBezTo>
                    <a:pt x="199732" y="20296"/>
                    <a:pt x="204714" y="14873"/>
                    <a:pt x="211015" y="11723"/>
                  </a:cubicBezTo>
                  <a:cubicBezTo>
                    <a:pt x="237956" y="-1748"/>
                    <a:pt x="221219" y="13242"/>
                    <a:pt x="234461" y="0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F7B6B83B-E793-2240-DDBF-2E0AE2DC805E}"/>
                </a:ext>
              </a:extLst>
            </p:cNvPr>
            <p:cNvSpPr/>
            <p:nvPr/>
          </p:nvSpPr>
          <p:spPr bwMode="gray">
            <a:xfrm>
              <a:off x="7604735" y="4436751"/>
              <a:ext cx="141833" cy="106375"/>
            </a:xfrm>
            <a:custGeom>
              <a:avLst/>
              <a:gdLst>
                <a:gd name="connsiteX0" fmla="*/ 187569 w 187569"/>
                <a:gd name="connsiteY0" fmla="*/ 140677 h 140677"/>
                <a:gd name="connsiteX1" fmla="*/ 158261 w 187569"/>
                <a:gd name="connsiteY1" fmla="*/ 117231 h 140677"/>
                <a:gd name="connsiteX2" fmla="*/ 140677 w 187569"/>
                <a:gd name="connsiteY2" fmla="*/ 99646 h 140677"/>
                <a:gd name="connsiteX3" fmla="*/ 76200 w 187569"/>
                <a:gd name="connsiteY3" fmla="*/ 76200 h 140677"/>
                <a:gd name="connsiteX4" fmla="*/ 17584 w 187569"/>
                <a:gd name="connsiteY4" fmla="*/ 35169 h 140677"/>
                <a:gd name="connsiteX5" fmla="*/ 11723 w 187569"/>
                <a:gd name="connsiteY5" fmla="*/ 17585 h 140677"/>
                <a:gd name="connsiteX6" fmla="*/ 0 w 187569"/>
                <a:gd name="connsiteY6" fmla="*/ 0 h 140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569" h="140677">
                  <a:moveTo>
                    <a:pt x="187569" y="140677"/>
                  </a:moveTo>
                  <a:cubicBezTo>
                    <a:pt x="177800" y="132862"/>
                    <a:pt x="167676" y="125469"/>
                    <a:pt x="158261" y="117231"/>
                  </a:cubicBezTo>
                  <a:cubicBezTo>
                    <a:pt x="152023" y="111772"/>
                    <a:pt x="147574" y="104244"/>
                    <a:pt x="140677" y="99646"/>
                  </a:cubicBezTo>
                  <a:cubicBezTo>
                    <a:pt x="112342" y="80756"/>
                    <a:pt x="106392" y="82239"/>
                    <a:pt x="76200" y="76200"/>
                  </a:cubicBezTo>
                  <a:cubicBezTo>
                    <a:pt x="32902" y="47335"/>
                    <a:pt x="52302" y="61207"/>
                    <a:pt x="17584" y="35169"/>
                  </a:cubicBezTo>
                  <a:cubicBezTo>
                    <a:pt x="15630" y="29308"/>
                    <a:pt x="14486" y="23111"/>
                    <a:pt x="11723" y="17585"/>
                  </a:cubicBezTo>
                  <a:cubicBezTo>
                    <a:pt x="8573" y="11284"/>
                    <a:pt x="0" y="0"/>
                    <a:pt x="0" y="0"/>
                  </a:cubicBezTo>
                </a:path>
              </a:pathLst>
            </a:custGeom>
            <a:noFill/>
            <a:ln w="28575" algn="ctr">
              <a:solidFill>
                <a:srgbClr val="53D0FF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cs-CZ" sz="140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6E9110EA-5E79-0E4D-7B5B-C3ADDE4226C4}"/>
                </a:ext>
              </a:extLst>
            </p:cNvPr>
            <p:cNvSpPr/>
            <p:nvPr/>
          </p:nvSpPr>
          <p:spPr bwMode="gray">
            <a:xfrm>
              <a:off x="7693380" y="4321097"/>
              <a:ext cx="84213" cy="40306"/>
            </a:xfrm>
            <a:custGeom>
              <a:avLst/>
              <a:gdLst>
                <a:gd name="connsiteX0" fmla="*/ 0 w 111369"/>
                <a:gd name="connsiteY0" fmla="*/ 53303 h 53303"/>
                <a:gd name="connsiteX1" fmla="*/ 29307 w 111369"/>
                <a:gd name="connsiteY1" fmla="*/ 41580 h 53303"/>
                <a:gd name="connsiteX2" fmla="*/ 99646 w 111369"/>
                <a:gd name="connsiteY2" fmla="*/ 549 h 53303"/>
                <a:gd name="connsiteX3" fmla="*/ 111369 w 111369"/>
                <a:gd name="connsiteY3" fmla="*/ 549 h 5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369" h="53303">
                  <a:moveTo>
                    <a:pt x="0" y="53303"/>
                  </a:moveTo>
                  <a:cubicBezTo>
                    <a:pt x="9769" y="49395"/>
                    <a:pt x="20043" y="46568"/>
                    <a:pt x="29307" y="41580"/>
                  </a:cubicBezTo>
                  <a:cubicBezTo>
                    <a:pt x="38073" y="36860"/>
                    <a:pt x="81299" y="6665"/>
                    <a:pt x="99646" y="549"/>
                  </a:cubicBezTo>
                  <a:cubicBezTo>
                    <a:pt x="103353" y="-687"/>
                    <a:pt x="107461" y="549"/>
                    <a:pt x="111369" y="549"/>
                  </a:cubicBezTo>
                </a:path>
              </a:pathLst>
            </a:custGeom>
            <a:noFill/>
            <a:ln w="28575" algn="ctr">
              <a:solidFill>
                <a:srgbClr val="53D0FF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FC479F72-894B-B08A-6810-928ADE0C3A3C}"/>
                </a:ext>
              </a:extLst>
            </p:cNvPr>
            <p:cNvSpPr txBox="1"/>
            <p:nvPr/>
          </p:nvSpPr>
          <p:spPr>
            <a:xfrm>
              <a:off x="8573267" y="5485373"/>
              <a:ext cx="724068" cy="298156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Jihlava</a:t>
              </a: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8E77EF0-B984-7D58-96CA-346B40FD5367}"/>
                </a:ext>
              </a:extLst>
            </p:cNvPr>
            <p:cNvSpPr txBox="1"/>
            <p:nvPr/>
          </p:nvSpPr>
          <p:spPr>
            <a:xfrm>
              <a:off x="7639155" y="5955916"/>
              <a:ext cx="1083520" cy="259255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České Budějovice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CF181CEF-E143-3BC4-36D7-E6F697E55B6B}"/>
                </a:ext>
              </a:extLst>
            </p:cNvPr>
            <p:cNvSpPr txBox="1"/>
            <p:nvPr/>
          </p:nvSpPr>
          <p:spPr>
            <a:xfrm>
              <a:off x="11135328" y="5586969"/>
              <a:ext cx="522497" cy="16291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Zlín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5849ADBE-575E-CDE6-C98D-46B25C3F9789}"/>
                </a:ext>
              </a:extLst>
            </p:cNvPr>
            <p:cNvSpPr txBox="1"/>
            <p:nvPr/>
          </p:nvSpPr>
          <p:spPr>
            <a:xfrm>
              <a:off x="6187468" y="4687773"/>
              <a:ext cx="691359" cy="14479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kern="0" dirty="0">
                  <a:solidFill>
                    <a:schemeClr val="accent1"/>
                  </a:solidFill>
                </a:rPr>
                <a:t>Plzeň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1258F431-F05F-6441-EA25-387C665F0A9E}"/>
                </a:ext>
              </a:extLst>
            </p:cNvPr>
            <p:cNvSpPr txBox="1"/>
            <p:nvPr/>
          </p:nvSpPr>
          <p:spPr>
            <a:xfrm>
              <a:off x="6018700" y="3984338"/>
              <a:ext cx="670712" cy="16099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Karlovy Vary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382399A5-A0AD-A2F5-39CB-A192695A761A}"/>
                </a:ext>
              </a:extLst>
            </p:cNvPr>
            <p:cNvSpPr txBox="1"/>
            <p:nvPr/>
          </p:nvSpPr>
          <p:spPr>
            <a:xfrm>
              <a:off x="7311933" y="4157487"/>
              <a:ext cx="567548" cy="122156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Praha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B6969E72-E2F2-71F5-6199-1EAE03890F07}"/>
                </a:ext>
              </a:extLst>
            </p:cNvPr>
            <p:cNvSpPr txBox="1"/>
            <p:nvPr/>
          </p:nvSpPr>
          <p:spPr>
            <a:xfrm>
              <a:off x="7238263" y="3221014"/>
              <a:ext cx="1089021" cy="16885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100" b="0" i="1">
                  <a:solidFill>
                    <a:schemeClr val="accent6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kern="0" dirty="0">
                  <a:solidFill>
                    <a:srgbClr val="75787B"/>
                  </a:solidFill>
                </a:rPr>
                <a:t>Ústí nad Labem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EC8E57FC-D9E8-E1D8-B703-7F0F82166325}"/>
                </a:ext>
              </a:extLst>
            </p:cNvPr>
            <p:cNvSpPr txBox="1"/>
            <p:nvPr/>
          </p:nvSpPr>
          <p:spPr>
            <a:xfrm>
              <a:off x="8109066" y="3030882"/>
              <a:ext cx="709163" cy="18828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Liberec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CD2EF082-F4C5-5D4D-4F28-9A96D299A7E0}"/>
                </a:ext>
              </a:extLst>
            </p:cNvPr>
            <p:cNvSpPr txBox="1"/>
            <p:nvPr/>
          </p:nvSpPr>
          <p:spPr>
            <a:xfrm>
              <a:off x="8930170" y="4232021"/>
              <a:ext cx="893006" cy="13945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Pardubice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FB4C0DFD-5B90-1D55-CF60-59618A830D28}"/>
                </a:ext>
              </a:extLst>
            </p:cNvPr>
            <p:cNvSpPr txBox="1"/>
            <p:nvPr/>
          </p:nvSpPr>
          <p:spPr>
            <a:xfrm>
              <a:off x="8821248" y="3641071"/>
              <a:ext cx="688215" cy="2207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Hradec Králové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7861C8A7-87A6-C527-128E-1E801204381F}"/>
                </a:ext>
              </a:extLst>
            </p:cNvPr>
            <p:cNvSpPr txBox="1"/>
            <p:nvPr/>
          </p:nvSpPr>
          <p:spPr>
            <a:xfrm>
              <a:off x="10261614" y="4881480"/>
              <a:ext cx="828836" cy="267748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sz="1300" b="0" i="1" kern="0" dirty="0">
                  <a:solidFill>
                    <a:srgbClr val="75787B"/>
                  </a:solidFill>
                </a:rPr>
                <a:t>Olomouc</a:t>
              </a: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6ED747B5-771C-D95A-DFC2-277E7B24019C}"/>
                </a:ext>
              </a:extLst>
            </p:cNvPr>
            <p:cNvSpPr/>
            <p:nvPr/>
          </p:nvSpPr>
          <p:spPr bwMode="gray">
            <a:xfrm>
              <a:off x="11162460" y="4563070"/>
              <a:ext cx="313306" cy="131456"/>
            </a:xfrm>
            <a:custGeom>
              <a:avLst/>
              <a:gdLst>
                <a:gd name="connsiteX0" fmla="*/ 0 w 461962"/>
                <a:gd name="connsiteY0" fmla="*/ 4763 h 142875"/>
                <a:gd name="connsiteX1" fmla="*/ 28575 w 461962"/>
                <a:gd name="connsiteY1" fmla="*/ 0 h 142875"/>
                <a:gd name="connsiteX2" fmla="*/ 104775 w 461962"/>
                <a:gd name="connsiteY2" fmla="*/ 9525 h 142875"/>
                <a:gd name="connsiteX3" fmla="*/ 161925 w 461962"/>
                <a:gd name="connsiteY3" fmla="*/ 14288 h 142875"/>
                <a:gd name="connsiteX4" fmla="*/ 219075 w 461962"/>
                <a:gd name="connsiteY4" fmla="*/ 28575 h 142875"/>
                <a:gd name="connsiteX5" fmla="*/ 238125 w 461962"/>
                <a:gd name="connsiteY5" fmla="*/ 33338 h 142875"/>
                <a:gd name="connsiteX6" fmla="*/ 271462 w 461962"/>
                <a:gd name="connsiteY6" fmla="*/ 47625 h 142875"/>
                <a:gd name="connsiteX7" fmla="*/ 338137 w 461962"/>
                <a:gd name="connsiteY7" fmla="*/ 57150 h 142875"/>
                <a:gd name="connsiteX8" fmla="*/ 361950 w 461962"/>
                <a:gd name="connsiteY8" fmla="*/ 61913 h 142875"/>
                <a:gd name="connsiteX9" fmla="*/ 376237 w 461962"/>
                <a:gd name="connsiteY9" fmla="*/ 71438 h 142875"/>
                <a:gd name="connsiteX10" fmla="*/ 414337 w 461962"/>
                <a:gd name="connsiteY10" fmla="*/ 100013 h 142875"/>
                <a:gd name="connsiteX11" fmla="*/ 428625 w 461962"/>
                <a:gd name="connsiteY11" fmla="*/ 109538 h 142875"/>
                <a:gd name="connsiteX12" fmla="*/ 438150 w 461962"/>
                <a:gd name="connsiteY12" fmla="*/ 123825 h 142875"/>
                <a:gd name="connsiteX13" fmla="*/ 461962 w 461962"/>
                <a:gd name="connsiteY13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1962" h="142875">
                  <a:moveTo>
                    <a:pt x="0" y="4763"/>
                  </a:moveTo>
                  <a:cubicBezTo>
                    <a:pt x="9525" y="3175"/>
                    <a:pt x="18919" y="0"/>
                    <a:pt x="28575" y="0"/>
                  </a:cubicBezTo>
                  <a:cubicBezTo>
                    <a:pt x="159570" y="0"/>
                    <a:pt x="44128" y="1944"/>
                    <a:pt x="104775" y="9525"/>
                  </a:cubicBezTo>
                  <a:cubicBezTo>
                    <a:pt x="123743" y="11896"/>
                    <a:pt x="142875" y="12700"/>
                    <a:pt x="161925" y="14288"/>
                  </a:cubicBezTo>
                  <a:cubicBezTo>
                    <a:pt x="202207" y="22344"/>
                    <a:pt x="170620" y="15360"/>
                    <a:pt x="219075" y="28575"/>
                  </a:cubicBezTo>
                  <a:cubicBezTo>
                    <a:pt x="225390" y="30297"/>
                    <a:pt x="231974" y="31101"/>
                    <a:pt x="238125" y="33338"/>
                  </a:cubicBezTo>
                  <a:cubicBezTo>
                    <a:pt x="249487" y="37470"/>
                    <a:pt x="259701" y="44825"/>
                    <a:pt x="271462" y="47625"/>
                  </a:cubicBezTo>
                  <a:cubicBezTo>
                    <a:pt x="293302" y="52825"/>
                    <a:pt x="316122" y="52747"/>
                    <a:pt x="338137" y="57150"/>
                  </a:cubicBezTo>
                  <a:lnTo>
                    <a:pt x="361950" y="61913"/>
                  </a:lnTo>
                  <a:cubicBezTo>
                    <a:pt x="366712" y="65088"/>
                    <a:pt x="371608" y="68071"/>
                    <a:pt x="376237" y="71438"/>
                  </a:cubicBezTo>
                  <a:cubicBezTo>
                    <a:pt x="389076" y="80775"/>
                    <a:pt x="401128" y="91207"/>
                    <a:pt x="414337" y="100013"/>
                  </a:cubicBezTo>
                  <a:lnTo>
                    <a:pt x="428625" y="109538"/>
                  </a:lnTo>
                  <a:cubicBezTo>
                    <a:pt x="431800" y="114300"/>
                    <a:pt x="433753" y="120161"/>
                    <a:pt x="438150" y="123825"/>
                  </a:cubicBezTo>
                  <a:cubicBezTo>
                    <a:pt x="466723" y="147636"/>
                    <a:pt x="450851" y="120651"/>
                    <a:pt x="461962" y="142875"/>
                  </a:cubicBezTo>
                </a:path>
              </a:pathLst>
            </a:custGeom>
            <a:noFill/>
            <a:ln w="12700" algn="ctr">
              <a:solidFill>
                <a:srgbClr val="00A3E0">
                  <a:lumMod val="60000"/>
                  <a:lumOff val="40000"/>
                </a:srgbClr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CB5913A7-8C9F-C344-D78E-D7005406BEA0}"/>
                </a:ext>
              </a:extLst>
            </p:cNvPr>
            <p:cNvSpPr/>
            <p:nvPr/>
          </p:nvSpPr>
          <p:spPr bwMode="gray">
            <a:xfrm>
              <a:off x="7732432" y="4520969"/>
              <a:ext cx="111851" cy="142354"/>
            </a:xfrm>
            <a:custGeom>
              <a:avLst/>
              <a:gdLst>
                <a:gd name="connsiteX0" fmla="*/ 0 w 147919"/>
                <a:gd name="connsiteY0" fmla="*/ 0 h 188258"/>
                <a:gd name="connsiteX1" fmla="*/ 8965 w 147919"/>
                <a:gd name="connsiteY1" fmla="*/ 40341 h 188258"/>
                <a:gd name="connsiteX2" fmla="*/ 26894 w 147919"/>
                <a:gd name="connsiteY2" fmla="*/ 67235 h 188258"/>
                <a:gd name="connsiteX3" fmla="*/ 31376 w 147919"/>
                <a:gd name="connsiteY3" fmla="*/ 89647 h 188258"/>
                <a:gd name="connsiteX4" fmla="*/ 125506 w 147919"/>
                <a:gd name="connsiteY4" fmla="*/ 103094 h 188258"/>
                <a:gd name="connsiteX5" fmla="*/ 143435 w 147919"/>
                <a:gd name="connsiteY5" fmla="*/ 112058 h 188258"/>
                <a:gd name="connsiteX6" fmla="*/ 147918 w 147919"/>
                <a:gd name="connsiteY6" fmla="*/ 188258 h 188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919" h="188258">
                  <a:moveTo>
                    <a:pt x="0" y="0"/>
                  </a:moveTo>
                  <a:cubicBezTo>
                    <a:pt x="473" y="2363"/>
                    <a:pt x="6853" y="36118"/>
                    <a:pt x="8965" y="40341"/>
                  </a:cubicBezTo>
                  <a:cubicBezTo>
                    <a:pt x="13783" y="49978"/>
                    <a:pt x="26894" y="67235"/>
                    <a:pt x="26894" y="67235"/>
                  </a:cubicBezTo>
                  <a:cubicBezTo>
                    <a:pt x="28388" y="74706"/>
                    <a:pt x="27676" y="82987"/>
                    <a:pt x="31376" y="89647"/>
                  </a:cubicBezTo>
                  <a:cubicBezTo>
                    <a:pt x="51837" y="126476"/>
                    <a:pt x="87412" y="105335"/>
                    <a:pt x="125506" y="103094"/>
                  </a:cubicBezTo>
                  <a:cubicBezTo>
                    <a:pt x="131482" y="106082"/>
                    <a:pt x="141550" y="105648"/>
                    <a:pt x="143435" y="112058"/>
                  </a:cubicBezTo>
                  <a:cubicBezTo>
                    <a:pt x="148117" y="127976"/>
                    <a:pt x="147918" y="164055"/>
                    <a:pt x="147918" y="188258"/>
                  </a:cubicBezTo>
                </a:path>
              </a:pathLst>
            </a:cu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79D171CF-8D6D-ED74-A0D8-A0CF2D95AEFA}"/>
                </a:ext>
              </a:extLst>
            </p:cNvPr>
            <p:cNvSpPr/>
            <p:nvPr/>
          </p:nvSpPr>
          <p:spPr bwMode="gray">
            <a:xfrm>
              <a:off x="9749773" y="5783530"/>
              <a:ext cx="206751" cy="37700"/>
            </a:xfrm>
            <a:custGeom>
              <a:avLst/>
              <a:gdLst>
                <a:gd name="connsiteX0" fmla="*/ 0 w 273423"/>
                <a:gd name="connsiteY0" fmla="*/ 27446 h 49857"/>
                <a:gd name="connsiteX1" fmla="*/ 44823 w 273423"/>
                <a:gd name="connsiteY1" fmla="*/ 31928 h 49857"/>
                <a:gd name="connsiteX2" fmla="*/ 71718 w 273423"/>
                <a:gd name="connsiteY2" fmla="*/ 45375 h 49857"/>
                <a:gd name="connsiteX3" fmla="*/ 89647 w 273423"/>
                <a:gd name="connsiteY3" fmla="*/ 49857 h 49857"/>
                <a:gd name="connsiteX4" fmla="*/ 138953 w 273423"/>
                <a:gd name="connsiteY4" fmla="*/ 27446 h 49857"/>
                <a:gd name="connsiteX5" fmla="*/ 152400 w 273423"/>
                <a:gd name="connsiteY5" fmla="*/ 22963 h 49857"/>
                <a:gd name="connsiteX6" fmla="*/ 174812 w 273423"/>
                <a:gd name="connsiteY6" fmla="*/ 13999 h 49857"/>
                <a:gd name="connsiteX7" fmla="*/ 206188 w 273423"/>
                <a:gd name="connsiteY7" fmla="*/ 552 h 49857"/>
                <a:gd name="connsiteX8" fmla="*/ 273423 w 273423"/>
                <a:gd name="connsiteY8" fmla="*/ 552 h 4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3423" h="49857">
                  <a:moveTo>
                    <a:pt x="0" y="27446"/>
                  </a:moveTo>
                  <a:cubicBezTo>
                    <a:pt x="14941" y="28940"/>
                    <a:pt x="29982" y="29645"/>
                    <a:pt x="44823" y="31928"/>
                  </a:cubicBezTo>
                  <a:cubicBezTo>
                    <a:pt x="64466" y="34950"/>
                    <a:pt x="53102" y="37397"/>
                    <a:pt x="71718" y="45375"/>
                  </a:cubicBezTo>
                  <a:cubicBezTo>
                    <a:pt x="77380" y="47802"/>
                    <a:pt x="83671" y="48363"/>
                    <a:pt x="89647" y="49857"/>
                  </a:cubicBezTo>
                  <a:cubicBezTo>
                    <a:pt x="152433" y="31919"/>
                    <a:pt x="95681" y="52173"/>
                    <a:pt x="138953" y="27446"/>
                  </a:cubicBezTo>
                  <a:cubicBezTo>
                    <a:pt x="143055" y="25102"/>
                    <a:pt x="147976" y="24622"/>
                    <a:pt x="152400" y="22963"/>
                  </a:cubicBezTo>
                  <a:cubicBezTo>
                    <a:pt x="159934" y="20138"/>
                    <a:pt x="167459" y="17267"/>
                    <a:pt x="174812" y="13999"/>
                  </a:cubicBezTo>
                  <a:cubicBezTo>
                    <a:pt x="180148" y="11627"/>
                    <a:pt x="198294" y="990"/>
                    <a:pt x="206188" y="552"/>
                  </a:cubicBezTo>
                  <a:cubicBezTo>
                    <a:pt x="228565" y="-691"/>
                    <a:pt x="251011" y="552"/>
                    <a:pt x="273423" y="552"/>
                  </a:cubicBezTo>
                </a:path>
              </a:pathLst>
            </a:cu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F8FBA0E-2D94-7B47-4B24-0A9598A1CEBD}"/>
                </a:ext>
              </a:extLst>
            </p:cNvPr>
            <p:cNvSpPr/>
            <p:nvPr/>
          </p:nvSpPr>
          <p:spPr bwMode="gray">
            <a:xfrm>
              <a:off x="5576972" y="5009621"/>
              <a:ext cx="86429" cy="43215"/>
            </a:xfrm>
            <a:custGeom>
              <a:avLst/>
              <a:gdLst>
                <a:gd name="connsiteX0" fmla="*/ 0 w 114300"/>
                <a:gd name="connsiteY0" fmla="*/ 57150 h 57150"/>
                <a:gd name="connsiteX1" fmla="*/ 31750 w 114300"/>
                <a:gd name="connsiteY1" fmla="*/ 50800 h 57150"/>
                <a:gd name="connsiteX2" fmla="*/ 82550 w 114300"/>
                <a:gd name="connsiteY2" fmla="*/ 31750 h 57150"/>
                <a:gd name="connsiteX3" fmla="*/ 114300 w 114300"/>
                <a:gd name="connsiteY3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57150">
                  <a:moveTo>
                    <a:pt x="0" y="57150"/>
                  </a:moveTo>
                  <a:cubicBezTo>
                    <a:pt x="10583" y="55033"/>
                    <a:pt x="21214" y="53141"/>
                    <a:pt x="31750" y="50800"/>
                  </a:cubicBezTo>
                  <a:cubicBezTo>
                    <a:pt x="51049" y="46511"/>
                    <a:pt x="65922" y="43627"/>
                    <a:pt x="82550" y="31750"/>
                  </a:cubicBezTo>
                  <a:lnTo>
                    <a:pt x="114300" y="0"/>
                  </a:lnTo>
                </a:path>
              </a:pathLst>
            </a:cu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>
              <a:noAutofit/>
            </a:bodyPr>
            <a:lstStyle/>
            <a:p>
              <a:pPr algn="ctr" defTabSz="844083">
                <a:defRPr/>
              </a:pPr>
              <a:endParaRPr lang="cs-CZ" sz="1400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0FDF57AC-17AE-3B5B-3E27-A7D545341DEF}"/>
                </a:ext>
              </a:extLst>
            </p:cNvPr>
            <p:cNvSpPr/>
            <p:nvPr/>
          </p:nvSpPr>
          <p:spPr bwMode="gray">
            <a:xfrm>
              <a:off x="6240462" y="4351320"/>
              <a:ext cx="905190" cy="209466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álnice D5</a:t>
              </a:r>
              <a:endParaRPr lang="en-GB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DB752AD7-FAC9-E224-98ED-DBA16DEA4AF0}"/>
                </a:ext>
              </a:extLst>
            </p:cNvPr>
            <p:cNvSpPr/>
            <p:nvPr/>
          </p:nvSpPr>
          <p:spPr bwMode="gray">
            <a:xfrm>
              <a:off x="9940748" y="5875786"/>
              <a:ext cx="900000" cy="373761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álnice D1  </a:t>
              </a:r>
              <a:b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 okolí Brna</a:t>
              </a:r>
              <a:endParaRPr lang="en-GB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5516994E-57E8-5476-A0DD-62403A80BDBE}"/>
                </a:ext>
              </a:extLst>
            </p:cNvPr>
            <p:cNvSpPr/>
            <p:nvPr/>
          </p:nvSpPr>
          <p:spPr bwMode="gray">
            <a:xfrm>
              <a:off x="7218108" y="4586076"/>
              <a:ext cx="645888" cy="326661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ažský okruh</a:t>
              </a:r>
              <a:endParaRPr lang="en-GB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7C4A233A-134F-AE7A-1111-FFB40739DBFE}"/>
                </a:ext>
              </a:extLst>
            </p:cNvPr>
            <p:cNvSpPr/>
            <p:nvPr/>
          </p:nvSpPr>
          <p:spPr bwMode="gray">
            <a:xfrm>
              <a:off x="7924918" y="4356335"/>
              <a:ext cx="900000" cy="21511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álnice D11</a:t>
              </a:r>
              <a:endParaRPr lang="en-GB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D31E04A-09E1-60E2-73A5-8EE9451569CF}"/>
                </a:ext>
              </a:extLst>
            </p:cNvPr>
            <p:cNvSpPr/>
            <p:nvPr/>
          </p:nvSpPr>
          <p:spPr bwMode="gray">
            <a:xfrm>
              <a:off x="6110480" y="4637789"/>
              <a:ext cx="797327" cy="321840"/>
            </a:xfrm>
            <a:prstGeom prst="ellipse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algn="ctr">
                <a:lnSpc>
                  <a:spcPct val="106000"/>
                </a:lnSpc>
              </a:pPr>
              <a:endParaRPr lang="cs-CZ" sz="14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855405DA-BA5B-4F07-6A2E-E659F1CCFB6E}"/>
                </a:ext>
              </a:extLst>
            </p:cNvPr>
            <p:cNvSpPr/>
            <p:nvPr/>
          </p:nvSpPr>
          <p:spPr bwMode="gray">
            <a:xfrm>
              <a:off x="6457633" y="4847923"/>
              <a:ext cx="81665" cy="81665"/>
            </a:xfrm>
            <a:prstGeom prst="ellipse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991EAE97-1E50-0F0E-3AF0-0FF27F1BB14D}"/>
                </a:ext>
              </a:extLst>
            </p:cNvPr>
            <p:cNvSpPr txBox="1"/>
            <p:nvPr/>
          </p:nvSpPr>
          <p:spPr>
            <a:xfrm>
              <a:off x="9516931" y="5574290"/>
              <a:ext cx="706467" cy="177182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kern="0" dirty="0">
                  <a:solidFill>
                    <a:schemeClr val="accent1"/>
                  </a:solidFill>
                </a:rPr>
                <a:t>Brno</a:t>
              </a: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05CE3764-8AEF-543C-8EC8-8142E55B54C4}"/>
                </a:ext>
              </a:extLst>
            </p:cNvPr>
            <p:cNvSpPr/>
            <p:nvPr/>
          </p:nvSpPr>
          <p:spPr bwMode="gray">
            <a:xfrm>
              <a:off x="9426072" y="5524305"/>
              <a:ext cx="797327" cy="321840"/>
            </a:xfrm>
            <a:prstGeom prst="ellipse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algn="ctr">
                <a:lnSpc>
                  <a:spcPct val="106000"/>
                </a:lnSpc>
              </a:pPr>
              <a:endParaRPr lang="cs-CZ" sz="14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2EC0BC96-ABE3-C52B-2301-6CC24D9E6F54}"/>
                </a:ext>
              </a:extLst>
            </p:cNvPr>
            <p:cNvSpPr txBox="1"/>
            <p:nvPr/>
          </p:nvSpPr>
          <p:spPr>
            <a:xfrm>
              <a:off x="11117942" y="4407712"/>
              <a:ext cx="796129" cy="19778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lIns="33231" tIns="33231" rIns="33231" bIns="33231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0" lvl="1">
                <a:defRPr sz="1300">
                  <a:latin typeface="Calibri" panose="020F0502020204030204" pitchFamily="34" charset="0"/>
                  <a:cs typeface="Calibri" panose="020F0502020204030204" pitchFamily="34" charset="0"/>
                </a:defRPr>
              </a:lvl2pPr>
            </a:lstStyle>
            <a:p>
              <a:pPr defTabSz="844083">
                <a:defRPr/>
              </a:pPr>
              <a:r>
                <a:rPr lang="cs-CZ" kern="0" dirty="0">
                  <a:solidFill>
                    <a:schemeClr val="accent1"/>
                  </a:solidFill>
                </a:rPr>
                <a:t>Ostrava</a:t>
              </a: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369F8832-7936-AAA2-BC30-4E8252896271}"/>
                </a:ext>
              </a:extLst>
            </p:cNvPr>
            <p:cNvSpPr/>
            <p:nvPr/>
          </p:nvSpPr>
          <p:spPr bwMode="gray">
            <a:xfrm>
              <a:off x="11091239" y="4359389"/>
              <a:ext cx="797327" cy="321840"/>
            </a:xfrm>
            <a:prstGeom prst="ellipse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algn="ctr">
                <a:lnSpc>
                  <a:spcPct val="106000"/>
                </a:lnSpc>
              </a:pPr>
              <a:endParaRPr lang="cs-CZ" sz="14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49160D84-D992-8C93-507A-050CB9D3F7C3}"/>
                </a:ext>
              </a:extLst>
            </p:cNvPr>
            <p:cNvSpPr/>
            <p:nvPr/>
          </p:nvSpPr>
          <p:spPr bwMode="gray">
            <a:xfrm>
              <a:off x="6521638" y="3539066"/>
              <a:ext cx="983524" cy="389636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Žel.  přejezdy</a:t>
              </a: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B1F8ED5E-ACE8-F5C3-F03B-BF6E458E423E}"/>
                </a:ext>
              </a:extLst>
            </p:cNvPr>
            <p:cNvSpPr/>
            <p:nvPr/>
          </p:nvSpPr>
          <p:spPr bwMode="gray">
            <a:xfrm>
              <a:off x="7852560" y="3880788"/>
              <a:ext cx="939908" cy="372285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cs-CZ" sz="14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Žel.  přejezdy</a:t>
              </a: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13B241E1-D809-5A63-DF36-9B8A7EFC8C9E}"/>
                </a:ext>
              </a:extLst>
            </p:cNvPr>
            <p:cNvSpPr/>
            <p:nvPr/>
          </p:nvSpPr>
          <p:spPr bwMode="gray">
            <a:xfrm>
              <a:off x="9746274" y="5722028"/>
              <a:ext cx="81665" cy="81665"/>
            </a:xfrm>
            <a:prstGeom prst="ellipse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82062" tIns="82062" rIns="82062" bIns="82062" rtlCol="0" anchor="ctr">
              <a:noAutofit/>
            </a:bodyPr>
            <a:lstStyle/>
            <a:p>
              <a:pPr algn="ctr" defTabSz="844083">
                <a:lnSpc>
                  <a:spcPct val="106000"/>
                </a:lnSpc>
                <a:defRPr/>
              </a:pPr>
              <a:endParaRPr lang="cs-CZ" sz="1400" b="1" kern="0" dirty="0">
                <a:solidFill>
                  <a:prstClr val="white"/>
                </a:solidFill>
                <a:latin typeface="Verdana"/>
              </a:endParaRPr>
            </a:p>
          </p:txBody>
        </p:sp>
      </p:grpSp>
      <p:sp>
        <p:nvSpPr>
          <p:cNvPr id="277" name="Oval 276">
            <a:extLst>
              <a:ext uri="{FF2B5EF4-FFF2-40B4-BE49-F238E27FC236}">
                <a16:creationId xmlns:a16="http://schemas.microsoft.com/office/drawing/2014/main" id="{757EAF66-DBE7-0A0B-5733-FD7023234241}"/>
              </a:ext>
            </a:extLst>
          </p:cNvPr>
          <p:cNvSpPr/>
          <p:nvPr/>
        </p:nvSpPr>
        <p:spPr>
          <a:xfrm>
            <a:off x="5713095" y="1105412"/>
            <a:ext cx="324000" cy="324000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78" name="Text Placeholder 4">
            <a:extLst>
              <a:ext uri="{FF2B5EF4-FFF2-40B4-BE49-F238E27FC236}">
                <a16:creationId xmlns:a16="http://schemas.microsoft.com/office/drawing/2014/main" id="{A4300701-939A-A969-B8E2-87B72BF4F5AA}"/>
              </a:ext>
            </a:extLst>
          </p:cNvPr>
          <p:cNvSpPr txBox="1">
            <a:spLocks/>
          </p:cNvSpPr>
          <p:nvPr/>
        </p:nvSpPr>
        <p:spPr>
          <a:xfrm>
            <a:off x="8445792" y="863624"/>
            <a:ext cx="490807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/>
                </a:solidFill>
              </a:rPr>
              <a:t>2021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79" name="Arrow: Pentagon 278">
            <a:extLst>
              <a:ext uri="{FF2B5EF4-FFF2-40B4-BE49-F238E27FC236}">
                <a16:creationId xmlns:a16="http://schemas.microsoft.com/office/drawing/2014/main" id="{7991B788-C4F1-D2D9-A5F8-A90D6EBE249F}"/>
              </a:ext>
            </a:extLst>
          </p:cNvPr>
          <p:cNvSpPr/>
          <p:nvPr/>
        </p:nvSpPr>
        <p:spPr bwMode="gray">
          <a:xfrm>
            <a:off x="9553941" y="1550850"/>
            <a:ext cx="2268000" cy="720000"/>
          </a:xfrm>
          <a:prstGeom prst="homePlate">
            <a:avLst>
              <a:gd name="adj" fmla="val 24239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chemeClr val="bg1"/>
                </a:solidFill>
              </a:rPr>
              <a:t>Otevřený provoz Centrálních prvků C-IT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0" name="Isosceles Triangle 279">
            <a:extLst>
              <a:ext uri="{FF2B5EF4-FFF2-40B4-BE49-F238E27FC236}">
                <a16:creationId xmlns:a16="http://schemas.microsoft.com/office/drawing/2014/main" id="{0E6D3E69-A581-A5D3-9D9C-FD3D4C77497B}"/>
              </a:ext>
            </a:extLst>
          </p:cNvPr>
          <p:cNvSpPr/>
          <p:nvPr/>
        </p:nvSpPr>
        <p:spPr>
          <a:xfrm rot="16200000" flipV="1">
            <a:off x="9630320" y="778404"/>
            <a:ext cx="228422" cy="164295"/>
          </a:xfrm>
          <a:prstGeom prst="triangle">
            <a:avLst/>
          </a:prstGeom>
          <a:solidFill>
            <a:srgbClr val="041E4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>
              <a:solidFill>
                <a:srgbClr val="041E42"/>
              </a:solidFill>
            </a:endParaRPr>
          </a:p>
        </p:txBody>
      </p:sp>
      <p:sp>
        <p:nvSpPr>
          <p:cNvPr id="281" name="Text Placeholder 4">
            <a:extLst>
              <a:ext uri="{FF2B5EF4-FFF2-40B4-BE49-F238E27FC236}">
                <a16:creationId xmlns:a16="http://schemas.microsoft.com/office/drawing/2014/main" id="{92DC87DF-2E2D-4101-7C90-397F276C2A6C}"/>
              </a:ext>
            </a:extLst>
          </p:cNvPr>
          <p:cNvSpPr txBox="1">
            <a:spLocks/>
          </p:cNvSpPr>
          <p:nvPr/>
        </p:nvSpPr>
        <p:spPr>
          <a:xfrm>
            <a:off x="9881075" y="539744"/>
            <a:ext cx="2310926" cy="2832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solidFill>
                  <a:srgbClr val="041E42"/>
                </a:solidFill>
              </a:rPr>
              <a:t>Otevřené C-ITS prostředí</a:t>
            </a:r>
            <a:endParaRPr lang="en-US" sz="1600" dirty="0">
              <a:solidFill>
                <a:srgbClr val="041E42"/>
              </a:solidFill>
            </a:endParaRPr>
          </a:p>
        </p:txBody>
      </p:sp>
      <p:sp>
        <p:nvSpPr>
          <p:cNvPr id="282" name="Oval 281">
            <a:extLst>
              <a:ext uri="{FF2B5EF4-FFF2-40B4-BE49-F238E27FC236}">
                <a16:creationId xmlns:a16="http://schemas.microsoft.com/office/drawing/2014/main" id="{2033B7DD-8520-1016-E2F3-D53AE7AF863A}"/>
              </a:ext>
            </a:extLst>
          </p:cNvPr>
          <p:cNvSpPr/>
          <p:nvPr/>
        </p:nvSpPr>
        <p:spPr>
          <a:xfrm>
            <a:off x="9338704" y="781897"/>
            <a:ext cx="180000" cy="180000"/>
          </a:xfrm>
          <a:prstGeom prst="ellipse">
            <a:avLst/>
          </a:prstGeom>
          <a:solidFill>
            <a:srgbClr val="041E42"/>
          </a:solidFill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041E42"/>
              </a:solidFill>
            </a:endParaRPr>
          </a:p>
        </p:txBody>
      </p:sp>
      <p:sp>
        <p:nvSpPr>
          <p:cNvPr id="283" name="Isosceles Triangle 282">
            <a:extLst>
              <a:ext uri="{FF2B5EF4-FFF2-40B4-BE49-F238E27FC236}">
                <a16:creationId xmlns:a16="http://schemas.microsoft.com/office/drawing/2014/main" id="{EAECDA96-4560-D4CD-377B-9D2C9EEC404C}"/>
              </a:ext>
            </a:extLst>
          </p:cNvPr>
          <p:cNvSpPr/>
          <p:nvPr/>
        </p:nvSpPr>
        <p:spPr>
          <a:xfrm rot="5400000" flipV="1">
            <a:off x="8988359" y="788822"/>
            <a:ext cx="228422" cy="164295"/>
          </a:xfrm>
          <a:prstGeom prst="triangle">
            <a:avLst/>
          </a:prstGeom>
          <a:solidFill>
            <a:srgbClr val="041E4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>
              <a:solidFill>
                <a:srgbClr val="041E42"/>
              </a:solidFill>
            </a:endParaRPr>
          </a:p>
        </p:txBody>
      </p:sp>
      <p:sp>
        <p:nvSpPr>
          <p:cNvPr id="284" name="Text Placeholder 4">
            <a:extLst>
              <a:ext uri="{FF2B5EF4-FFF2-40B4-BE49-F238E27FC236}">
                <a16:creationId xmlns:a16="http://schemas.microsoft.com/office/drawing/2014/main" id="{594E58E0-A759-371B-9D13-246A72C04529}"/>
              </a:ext>
            </a:extLst>
          </p:cNvPr>
          <p:cNvSpPr txBox="1">
            <a:spLocks/>
          </p:cNvSpPr>
          <p:nvPr/>
        </p:nvSpPr>
        <p:spPr>
          <a:xfrm>
            <a:off x="7189016" y="534207"/>
            <a:ext cx="2706001" cy="273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solidFill>
                  <a:srgbClr val="041E42"/>
                </a:solidFill>
              </a:rPr>
              <a:t>Pilotní C-ITS projekty</a:t>
            </a:r>
            <a:endParaRPr lang="en-US" sz="1600" dirty="0">
              <a:solidFill>
                <a:srgbClr val="041E42"/>
              </a:solidFill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A998B85D-9EE3-A60D-92C3-5FB18157D463}"/>
              </a:ext>
            </a:extLst>
          </p:cNvPr>
          <p:cNvSpPr txBox="1"/>
          <p:nvPr/>
        </p:nvSpPr>
        <p:spPr>
          <a:xfrm>
            <a:off x="3701668" y="6397159"/>
            <a:ext cx="1643766" cy="305808"/>
          </a:xfrm>
          <a:prstGeom prst="rect">
            <a:avLst/>
          </a:prstGeom>
          <a:noFill/>
          <a:ln w="12700">
            <a:noFill/>
          </a:ln>
        </p:spPr>
        <p:txBody>
          <a:bodyPr wrap="square" lIns="33231" tIns="33231" rIns="33231" bIns="33231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defRPr sz="1300"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defTabSz="844083">
              <a:lnSpc>
                <a:spcPts val="1200"/>
              </a:lnSpc>
              <a:defRPr/>
            </a:pPr>
            <a:r>
              <a:rPr lang="cs-CZ" sz="1300" b="0" i="1" kern="0" dirty="0">
                <a:solidFill>
                  <a:srgbClr val="041E42"/>
                </a:solidFill>
              </a:rPr>
              <a:t>Pilotní projekty C-ITS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D938B530-2F6F-F833-F4E0-D941089D05C5}"/>
              </a:ext>
            </a:extLst>
          </p:cNvPr>
          <p:cNvSpPr txBox="1"/>
          <p:nvPr/>
        </p:nvSpPr>
        <p:spPr>
          <a:xfrm>
            <a:off x="8066442" y="3179942"/>
            <a:ext cx="383251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defTabSz="121917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400" dirty="0">
                <a:solidFill>
                  <a:prstClr val="black">
                    <a:lumMod val="95000"/>
                    <a:lumOff val="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50+ km dálnic pokryto technologií ITS-G5</a:t>
            </a:r>
          </a:p>
          <a:p>
            <a:pPr marL="285750" lvl="0" indent="-285750" defTabSz="121917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400" dirty="0">
                <a:solidFill>
                  <a:prstClr val="black">
                    <a:lumMod val="95000"/>
                    <a:lumOff val="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00+ vozidel údržby, mobilních vozíků, vozidel MHD a IZS vybaveno OBU jednotkami</a:t>
            </a:r>
          </a:p>
          <a:p>
            <a:pPr marL="285750" indent="-285750" defTabSz="121917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400" dirty="0">
                <a:solidFill>
                  <a:prstClr val="black">
                    <a:lumMod val="95000"/>
                    <a:lumOff val="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 Brněnské aglomeraci osazena městská infrastruktura a vozidla HZS. </a:t>
            </a:r>
          </a:p>
          <a:p>
            <a:pPr marL="285750" indent="-285750" defTabSz="121917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400" dirty="0">
                <a:solidFill>
                  <a:prstClr val="black">
                    <a:lumMod val="95000"/>
                    <a:lumOff val="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ezpečnostní služby MHD otestovány v Plzni a Ostravě</a:t>
            </a:r>
            <a:endParaRPr lang="cs-CZ" sz="1800" dirty="0">
              <a:solidFill>
                <a:prstClr val="black">
                  <a:lumMod val="95000"/>
                  <a:lumOff val="5000"/>
                </a:prst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0" indent="-285750" defTabSz="121917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400" dirty="0">
                <a:solidFill>
                  <a:prstClr val="black">
                    <a:lumMod val="95000"/>
                    <a:lumOff val="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ybaveny 4 železniční přejezdy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E1010593-59C2-51E0-3EB7-462CCEF044B0}"/>
              </a:ext>
            </a:extLst>
          </p:cNvPr>
          <p:cNvSpPr txBox="1"/>
          <p:nvPr/>
        </p:nvSpPr>
        <p:spPr>
          <a:xfrm>
            <a:off x="7644764" y="2661263"/>
            <a:ext cx="39824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1219170">
              <a:buFont typeface="Symbol" panose="05050102010706020507" pitchFamily="18" charset="2"/>
              <a:buChar char="Þ"/>
              <a:defRPr/>
            </a:pPr>
            <a:r>
              <a:rPr lang="cs-CZ" sz="1600" b="1" dirty="0">
                <a:solidFill>
                  <a:schemeClr val="accent4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Technologie standardizována a otestována v pilotních projektech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8A81995-84B4-3CF5-8B6D-73E185807CA3}"/>
              </a:ext>
            </a:extLst>
          </p:cNvPr>
          <p:cNvSpPr txBox="1"/>
          <p:nvPr/>
        </p:nvSpPr>
        <p:spPr>
          <a:xfrm>
            <a:off x="8054921" y="5743412"/>
            <a:ext cx="38325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 defTabSz="1219170">
              <a:spcAft>
                <a:spcPts val="600"/>
              </a:spcAft>
              <a:buFont typeface="Wingdings" panose="05000000000000000000" pitchFamily="2" charset="2"/>
              <a:buChar char="§"/>
              <a:defRPr sz="1400">
                <a:solidFill>
                  <a:prstClr val="black">
                    <a:lumMod val="95000"/>
                    <a:lumOff val="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cs-CZ" dirty="0"/>
              <a:t>Otevřenost prostředí zajištěna Centrálními prvky C-ITS.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A85B5564-EC90-5DEC-D1C8-EAC17DAA13D9}"/>
              </a:ext>
            </a:extLst>
          </p:cNvPr>
          <p:cNvSpPr txBox="1"/>
          <p:nvPr/>
        </p:nvSpPr>
        <p:spPr>
          <a:xfrm>
            <a:off x="7615638" y="5433431"/>
            <a:ext cx="45587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1219170">
              <a:buFont typeface="Symbol" panose="05050102010706020507" pitchFamily="18" charset="2"/>
              <a:buChar char="Þ"/>
              <a:defRPr/>
            </a:pPr>
            <a:r>
              <a:rPr lang="cs-CZ" sz="1600" b="1" dirty="0">
                <a:solidFill>
                  <a:schemeClr val="accent4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Je připraveno otevřené prostředí pro připojení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E885F89-14FB-5898-03C5-97D9553475CF}"/>
              </a:ext>
            </a:extLst>
          </p:cNvPr>
          <p:cNvCxnSpPr/>
          <p:nvPr/>
        </p:nvCxnSpPr>
        <p:spPr>
          <a:xfrm>
            <a:off x="3499115" y="6709044"/>
            <a:ext cx="147451" cy="0"/>
          </a:xfrm>
          <a:prstGeom prst="line">
            <a:avLst/>
          </a:prstGeom>
          <a:noFill/>
          <a:ln w="38100" algn="ctr">
            <a:solidFill>
              <a:srgbClr val="002060"/>
            </a:solidFill>
            <a:miter lim="800000"/>
            <a:headEnd/>
            <a:tailEnd/>
          </a:ln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DFEE42B-C538-E678-5716-0903B039FBF6}"/>
              </a:ext>
            </a:extLst>
          </p:cNvPr>
          <p:cNvSpPr txBox="1"/>
          <p:nvPr/>
        </p:nvSpPr>
        <p:spPr>
          <a:xfrm>
            <a:off x="3725507" y="6604400"/>
            <a:ext cx="3075620" cy="343422"/>
          </a:xfrm>
          <a:prstGeom prst="rect">
            <a:avLst/>
          </a:prstGeom>
          <a:noFill/>
          <a:ln w="12700">
            <a:noFill/>
          </a:ln>
        </p:spPr>
        <p:txBody>
          <a:bodyPr wrap="square" lIns="33231" tIns="33231" rIns="33231" bIns="33231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defRPr sz="1300"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defTabSz="844083">
              <a:lnSpc>
                <a:spcPts val="1200"/>
              </a:lnSpc>
              <a:defRPr/>
            </a:pPr>
            <a:r>
              <a:rPr lang="cs-CZ" sz="1300" b="0" i="1" kern="0" dirty="0">
                <a:solidFill>
                  <a:srgbClr val="041E42"/>
                </a:solidFill>
              </a:rPr>
              <a:t>Infrastruktura vybavená do roku 2025</a:t>
            </a:r>
          </a:p>
        </p:txBody>
      </p:sp>
    </p:spTree>
    <p:extLst>
      <p:ext uri="{BB962C8B-B14F-4D97-AF65-F5344CB8AC3E}">
        <p14:creationId xmlns:p14="http://schemas.microsoft.com/office/powerpoint/2010/main" val="25187386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C6DCCA71-E88E-7405-A260-824D7294020C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Aspekty implementace C-ITS systémů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BC34CA68-AD49-D3D7-1277-4A6046FB5EA1}"/>
              </a:ext>
            </a:extLst>
          </p:cNvPr>
          <p:cNvSpPr txBox="1">
            <a:spLocks/>
          </p:cNvSpPr>
          <p:nvPr/>
        </p:nvSpPr>
        <p:spPr bwMode="auto">
          <a:xfrm>
            <a:off x="602374" y="1268359"/>
            <a:ext cx="11154197" cy="24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D6F2F-310F-1C54-8EAE-0CFA2C265D97}"/>
              </a:ext>
            </a:extLst>
          </p:cNvPr>
          <p:cNvSpPr txBox="1"/>
          <p:nvPr/>
        </p:nvSpPr>
        <p:spPr>
          <a:xfrm>
            <a:off x="602375" y="1134989"/>
            <a:ext cx="2789126" cy="2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08000" tIns="0" rIns="0" bIns="0" rtlCol="0" anchor="ctr" anchorCtr="0">
            <a:no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600"/>
              </a:spcAft>
              <a:buSzPct val="100000"/>
              <a:defRPr sz="1200" b="1"/>
            </a:lvl1pPr>
          </a:lstStyle>
          <a:p>
            <a:r>
              <a:rPr lang="cs-CZ" sz="1600" dirty="0"/>
              <a:t>Technické aspek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FC408B-A46B-7D80-8275-582955520EBF}"/>
              </a:ext>
            </a:extLst>
          </p:cNvPr>
          <p:cNvSpPr/>
          <p:nvPr/>
        </p:nvSpPr>
        <p:spPr>
          <a:xfrm>
            <a:off x="835742" y="1491908"/>
            <a:ext cx="10496287" cy="636424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1200"/>
              </a:spcAft>
              <a:buFontTx/>
              <a:buChar char="-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C-ITS technologie na infrastruktuře a ve vozidlech by měla podporovat hybridní řešení, kdy</a:t>
            </a: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 komunikační technologie pro přenos C-ITS zpráv kombinuje ITS-G5 a celulární (mobilní) sítě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830C2CF-43DF-54A5-D8B8-067C79659414}"/>
              </a:ext>
            </a:extLst>
          </p:cNvPr>
          <p:cNvSpPr txBox="1">
            <a:spLocks/>
          </p:cNvSpPr>
          <p:nvPr/>
        </p:nvSpPr>
        <p:spPr bwMode="auto">
          <a:xfrm>
            <a:off x="602373" y="4022976"/>
            <a:ext cx="11154197" cy="22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300"/>
              </a:spcAft>
            </a:pP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723750-A755-A1B4-0A49-49383D2EE928}"/>
              </a:ext>
            </a:extLst>
          </p:cNvPr>
          <p:cNvSpPr txBox="1"/>
          <p:nvPr/>
        </p:nvSpPr>
        <p:spPr>
          <a:xfrm>
            <a:off x="602375" y="3887754"/>
            <a:ext cx="2789126" cy="2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08000" tIns="0" rIns="0" bIns="0" rtlCol="0" anchor="ctr" anchorCtr="0">
            <a:no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600"/>
              </a:spcAft>
              <a:buSzPct val="100000"/>
              <a:defRPr sz="1200" b="1"/>
            </a:lvl1pPr>
          </a:lstStyle>
          <a:p>
            <a:r>
              <a:rPr lang="cs-CZ" sz="1600" dirty="0"/>
              <a:t>Organizačně-procesní aspek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719537-0938-8F19-EBBD-C5D02F4A8F16}"/>
              </a:ext>
            </a:extLst>
          </p:cNvPr>
          <p:cNvSpPr/>
          <p:nvPr/>
        </p:nvSpPr>
        <p:spPr>
          <a:xfrm>
            <a:off x="798398" y="2199943"/>
            <a:ext cx="10496287" cy="380053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12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C-ITS systém využívá standardizovaná komunikační rozhraní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(mezi jednotkami, mezi jednotkami a centrálními prvky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82E8BA-608E-73E8-E2A4-436559599505}"/>
              </a:ext>
            </a:extLst>
          </p:cNvPr>
          <p:cNvSpPr/>
          <p:nvPr/>
        </p:nvSpPr>
        <p:spPr>
          <a:xfrm>
            <a:off x="806194" y="2639364"/>
            <a:ext cx="10496287" cy="675471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C-ITS systém musí být napojen na centrální prvky C-ITS a splňovat podmínky provozovatele Centrálních prvků C-ITS</a:t>
            </a:r>
          </a:p>
          <a:p>
            <a:pPr marL="285750" indent="-285750" algn="just">
              <a:spcAft>
                <a:spcPts val="1200"/>
              </a:spcAft>
              <a:buFont typeface="Symbol" panose="05050102010706020507" pitchFamily="18" charset="2"/>
              <a:buChar char="Þ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C-ITS systém musí splňovat evropské specifikace, výstupy platformy C-ROADS, výstupy projektu C-ROADS Czech Republic, výstupy konsorcia C2C-CC, standardy a normy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BCF07C3-2164-4DFF-B32B-9D67108855E6}"/>
              </a:ext>
            </a:extLst>
          </p:cNvPr>
          <p:cNvSpPr/>
          <p:nvPr/>
        </p:nvSpPr>
        <p:spPr>
          <a:xfrm>
            <a:off x="662194" y="1541597"/>
            <a:ext cx="288000" cy="28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EBE3501-89AB-6099-CAD2-1A5B9C86AB1F}"/>
              </a:ext>
            </a:extLst>
          </p:cNvPr>
          <p:cNvSpPr/>
          <p:nvPr/>
        </p:nvSpPr>
        <p:spPr>
          <a:xfrm>
            <a:off x="662194" y="2230589"/>
            <a:ext cx="288000" cy="28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5171CB8-AFC6-0831-6091-9B4827EA1133}"/>
              </a:ext>
            </a:extLst>
          </p:cNvPr>
          <p:cNvSpPr/>
          <p:nvPr/>
        </p:nvSpPr>
        <p:spPr>
          <a:xfrm>
            <a:off x="662194" y="2720871"/>
            <a:ext cx="288000" cy="28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13DC592-55CC-D29A-A64E-1ACDF136E47F}"/>
              </a:ext>
            </a:extLst>
          </p:cNvPr>
          <p:cNvSpPr/>
          <p:nvPr/>
        </p:nvSpPr>
        <p:spPr>
          <a:xfrm>
            <a:off x="662194" y="4252251"/>
            <a:ext cx="10496287" cy="636424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1200"/>
              </a:spcAft>
              <a:buFontTx/>
              <a:buChar char="-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Při přípravě a implementaci zapojit různé subjekty a vzájemně se koordinovat s Provozovatelem Centrálních prvků C-ITS a provozovateli C-ITS. 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6A9213-759E-6519-4AD5-D4D104268300}"/>
              </a:ext>
            </a:extLst>
          </p:cNvPr>
          <p:cNvSpPr/>
          <p:nvPr/>
        </p:nvSpPr>
        <p:spPr bwMode="gray">
          <a:xfrm>
            <a:off x="2328959" y="5151787"/>
            <a:ext cx="7826282" cy="900000"/>
          </a:xfrm>
          <a:prstGeom prst="rect">
            <a:avLst/>
          </a:prstGeom>
          <a:noFill/>
          <a:ln w="6350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t"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cs-CZ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ounded Rectangle 48">
            <a:extLst>
              <a:ext uri="{FF2B5EF4-FFF2-40B4-BE49-F238E27FC236}">
                <a16:creationId xmlns:a16="http://schemas.microsoft.com/office/drawing/2014/main" id="{C374C985-F590-ACB1-D047-7AB482998B2C}"/>
              </a:ext>
            </a:extLst>
          </p:cNvPr>
          <p:cNvSpPr>
            <a:spLocks/>
          </p:cNvSpPr>
          <p:nvPr/>
        </p:nvSpPr>
        <p:spPr bwMode="gray">
          <a:xfrm>
            <a:off x="2387833" y="4915875"/>
            <a:ext cx="1800000" cy="302203"/>
          </a:xfrm>
          <a:prstGeom prst="round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0" rIns="0" bIns="0" rtlCol="0" anchor="ctr"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cs-CZ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ozovatelé C-IT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FAD325-6C3A-C05D-A2AC-44E32881B104}"/>
              </a:ext>
            </a:extLst>
          </p:cNvPr>
          <p:cNvSpPr/>
          <p:nvPr/>
        </p:nvSpPr>
        <p:spPr bwMode="gray">
          <a:xfrm>
            <a:off x="2403662" y="5275424"/>
            <a:ext cx="18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360000" tIns="36000" rIns="0" bIns="36000" rtlCol="0" anchor="t"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latin typeface="Calibri" panose="020F0502020204030204" pitchFamily="34" charset="0"/>
                <a:cs typeface="Calibri" panose="020F0502020204030204" pitchFamily="34" charset="0"/>
              </a:rPr>
              <a:t>Vlastníci a správci dopravní infrastruktury</a:t>
            </a:r>
          </a:p>
        </p:txBody>
      </p:sp>
      <p:grpSp>
        <p:nvGrpSpPr>
          <p:cNvPr id="29" name="Group 620">
            <a:extLst>
              <a:ext uri="{FF2B5EF4-FFF2-40B4-BE49-F238E27FC236}">
                <a16:creationId xmlns:a16="http://schemas.microsoft.com/office/drawing/2014/main" id="{39F9CB64-999D-0664-B15F-ED98017F88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95293" y="5297284"/>
            <a:ext cx="360000" cy="360000"/>
            <a:chOff x="3459" y="2357"/>
            <a:chExt cx="340" cy="340"/>
          </a:xfrm>
          <a:solidFill>
            <a:schemeClr val="tx1"/>
          </a:solidFill>
        </p:grpSpPr>
        <p:sp>
          <p:nvSpPr>
            <p:cNvPr id="30" name="Freeform 621">
              <a:extLst>
                <a:ext uri="{FF2B5EF4-FFF2-40B4-BE49-F238E27FC236}">
                  <a16:creationId xmlns:a16="http://schemas.microsoft.com/office/drawing/2014/main" id="{6EDC8765-00DF-99CC-438B-F3BFFFA49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9" y="235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Freeform 622">
              <a:extLst>
                <a:ext uri="{FF2B5EF4-FFF2-40B4-BE49-F238E27FC236}">
                  <a16:creationId xmlns:a16="http://schemas.microsoft.com/office/drawing/2014/main" id="{BBD0F853-391D-FA71-357E-BBE92FC2E3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3" y="2448"/>
              <a:ext cx="85" cy="157"/>
            </a:xfrm>
            <a:custGeom>
              <a:avLst/>
              <a:gdLst>
                <a:gd name="T0" fmla="*/ 93 w 128"/>
                <a:gd name="T1" fmla="*/ 4 h 236"/>
                <a:gd name="T2" fmla="*/ 77 w 128"/>
                <a:gd name="T3" fmla="*/ 4 h 236"/>
                <a:gd name="T4" fmla="*/ 77 w 128"/>
                <a:gd name="T5" fmla="*/ 20 h 236"/>
                <a:gd name="T6" fmla="*/ 106 w 128"/>
                <a:gd name="T7" fmla="*/ 48 h 236"/>
                <a:gd name="T8" fmla="*/ 106 w 128"/>
                <a:gd name="T9" fmla="*/ 76 h 236"/>
                <a:gd name="T10" fmla="*/ 85 w 128"/>
                <a:gd name="T11" fmla="*/ 76 h 236"/>
                <a:gd name="T12" fmla="*/ 74 w 128"/>
                <a:gd name="T13" fmla="*/ 65 h 236"/>
                <a:gd name="T14" fmla="*/ 64 w 128"/>
                <a:gd name="T15" fmla="*/ 76 h 236"/>
                <a:gd name="T16" fmla="*/ 42 w 128"/>
                <a:gd name="T17" fmla="*/ 76 h 236"/>
                <a:gd name="T18" fmla="*/ 32 w 128"/>
                <a:gd name="T19" fmla="*/ 65 h 236"/>
                <a:gd name="T20" fmla="*/ 21 w 128"/>
                <a:gd name="T21" fmla="*/ 76 h 236"/>
                <a:gd name="T22" fmla="*/ 10 w 128"/>
                <a:gd name="T23" fmla="*/ 76 h 236"/>
                <a:gd name="T24" fmla="*/ 0 w 128"/>
                <a:gd name="T25" fmla="*/ 87 h 236"/>
                <a:gd name="T26" fmla="*/ 10 w 128"/>
                <a:gd name="T27" fmla="*/ 97 h 236"/>
                <a:gd name="T28" fmla="*/ 21 w 128"/>
                <a:gd name="T29" fmla="*/ 97 h 236"/>
                <a:gd name="T30" fmla="*/ 21 w 128"/>
                <a:gd name="T31" fmla="*/ 140 h 236"/>
                <a:gd name="T32" fmla="*/ 10 w 128"/>
                <a:gd name="T33" fmla="*/ 140 h 236"/>
                <a:gd name="T34" fmla="*/ 0 w 128"/>
                <a:gd name="T35" fmla="*/ 151 h 236"/>
                <a:gd name="T36" fmla="*/ 10 w 128"/>
                <a:gd name="T37" fmla="*/ 161 h 236"/>
                <a:gd name="T38" fmla="*/ 21 w 128"/>
                <a:gd name="T39" fmla="*/ 161 h 236"/>
                <a:gd name="T40" fmla="*/ 32 w 128"/>
                <a:gd name="T41" fmla="*/ 172 h 236"/>
                <a:gd name="T42" fmla="*/ 42 w 128"/>
                <a:gd name="T43" fmla="*/ 161 h 236"/>
                <a:gd name="T44" fmla="*/ 64 w 128"/>
                <a:gd name="T45" fmla="*/ 161 h 236"/>
                <a:gd name="T46" fmla="*/ 74 w 128"/>
                <a:gd name="T47" fmla="*/ 172 h 236"/>
                <a:gd name="T48" fmla="*/ 85 w 128"/>
                <a:gd name="T49" fmla="*/ 161 h 236"/>
                <a:gd name="T50" fmla="*/ 106 w 128"/>
                <a:gd name="T51" fmla="*/ 161 h 236"/>
                <a:gd name="T52" fmla="*/ 106 w 128"/>
                <a:gd name="T53" fmla="*/ 189 h 236"/>
                <a:gd name="T54" fmla="*/ 77 w 128"/>
                <a:gd name="T55" fmla="*/ 218 h 236"/>
                <a:gd name="T56" fmla="*/ 77 w 128"/>
                <a:gd name="T57" fmla="*/ 233 h 236"/>
                <a:gd name="T58" fmla="*/ 85 w 128"/>
                <a:gd name="T59" fmla="*/ 236 h 236"/>
                <a:gd name="T60" fmla="*/ 93 w 128"/>
                <a:gd name="T61" fmla="*/ 233 h 236"/>
                <a:gd name="T62" fmla="*/ 125 w 128"/>
                <a:gd name="T63" fmla="*/ 201 h 236"/>
                <a:gd name="T64" fmla="*/ 128 w 128"/>
                <a:gd name="T65" fmla="*/ 193 h 236"/>
                <a:gd name="T66" fmla="*/ 128 w 128"/>
                <a:gd name="T67" fmla="*/ 44 h 236"/>
                <a:gd name="T68" fmla="*/ 125 w 128"/>
                <a:gd name="T69" fmla="*/ 36 h 236"/>
                <a:gd name="T70" fmla="*/ 93 w 128"/>
                <a:gd name="T71" fmla="*/ 4 h 236"/>
                <a:gd name="T72" fmla="*/ 42 w 128"/>
                <a:gd name="T73" fmla="*/ 140 h 236"/>
                <a:gd name="T74" fmla="*/ 42 w 128"/>
                <a:gd name="T75" fmla="*/ 97 h 236"/>
                <a:gd name="T76" fmla="*/ 64 w 128"/>
                <a:gd name="T77" fmla="*/ 97 h 236"/>
                <a:gd name="T78" fmla="*/ 64 w 128"/>
                <a:gd name="T79" fmla="*/ 140 h 236"/>
                <a:gd name="T80" fmla="*/ 42 w 128"/>
                <a:gd name="T81" fmla="*/ 140 h 236"/>
                <a:gd name="T82" fmla="*/ 85 w 128"/>
                <a:gd name="T83" fmla="*/ 140 h 236"/>
                <a:gd name="T84" fmla="*/ 85 w 128"/>
                <a:gd name="T85" fmla="*/ 97 h 236"/>
                <a:gd name="T86" fmla="*/ 106 w 128"/>
                <a:gd name="T87" fmla="*/ 97 h 236"/>
                <a:gd name="T88" fmla="*/ 106 w 128"/>
                <a:gd name="T89" fmla="*/ 140 h 236"/>
                <a:gd name="T90" fmla="*/ 85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93" y="4"/>
                  </a:moveTo>
                  <a:cubicBezTo>
                    <a:pt x="88" y="0"/>
                    <a:pt x="82" y="0"/>
                    <a:pt x="77" y="4"/>
                  </a:cubicBezTo>
                  <a:cubicBezTo>
                    <a:pt x="73" y="9"/>
                    <a:pt x="73" y="15"/>
                    <a:pt x="77" y="20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5" y="70"/>
                    <a:pt x="80" y="65"/>
                    <a:pt x="74" y="65"/>
                  </a:cubicBezTo>
                  <a:cubicBezTo>
                    <a:pt x="68" y="65"/>
                    <a:pt x="64" y="70"/>
                    <a:pt x="64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0"/>
                    <a:pt x="38" y="65"/>
                    <a:pt x="32" y="65"/>
                  </a:cubicBezTo>
                  <a:cubicBezTo>
                    <a:pt x="26" y="65"/>
                    <a:pt x="21" y="70"/>
                    <a:pt x="21" y="76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4" y="76"/>
                    <a:pt x="0" y="81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1" y="140"/>
                    <a:pt x="21" y="140"/>
                    <a:pt x="21" y="140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4" y="140"/>
                    <a:pt x="0" y="145"/>
                    <a:pt x="0" y="151"/>
                  </a:cubicBezTo>
                  <a:cubicBezTo>
                    <a:pt x="0" y="157"/>
                    <a:pt x="4" y="161"/>
                    <a:pt x="10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167"/>
                    <a:pt x="26" y="172"/>
                    <a:pt x="32" y="172"/>
                  </a:cubicBezTo>
                  <a:cubicBezTo>
                    <a:pt x="38" y="172"/>
                    <a:pt x="42" y="167"/>
                    <a:pt x="42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4" y="167"/>
                    <a:pt x="68" y="172"/>
                    <a:pt x="74" y="172"/>
                  </a:cubicBezTo>
                  <a:cubicBezTo>
                    <a:pt x="80" y="172"/>
                    <a:pt x="85" y="167"/>
                    <a:pt x="85" y="161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77" y="218"/>
                    <a:pt x="77" y="218"/>
                    <a:pt x="77" y="218"/>
                  </a:cubicBezTo>
                  <a:cubicBezTo>
                    <a:pt x="73" y="222"/>
                    <a:pt x="73" y="229"/>
                    <a:pt x="77" y="233"/>
                  </a:cubicBezTo>
                  <a:cubicBezTo>
                    <a:pt x="80" y="235"/>
                    <a:pt x="82" y="236"/>
                    <a:pt x="85" y="236"/>
                  </a:cubicBezTo>
                  <a:cubicBezTo>
                    <a:pt x="88" y="236"/>
                    <a:pt x="90" y="235"/>
                    <a:pt x="93" y="233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7" y="199"/>
                    <a:pt x="128" y="196"/>
                    <a:pt x="128" y="193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1"/>
                    <a:pt x="127" y="38"/>
                    <a:pt x="125" y="36"/>
                  </a:cubicBezTo>
                  <a:lnTo>
                    <a:pt x="93" y="4"/>
                  </a:lnTo>
                  <a:close/>
                  <a:moveTo>
                    <a:pt x="42" y="140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140"/>
                    <a:pt x="64" y="140"/>
                    <a:pt x="64" y="140"/>
                  </a:cubicBezTo>
                  <a:lnTo>
                    <a:pt x="42" y="140"/>
                  </a:lnTo>
                  <a:close/>
                  <a:moveTo>
                    <a:pt x="85" y="140"/>
                  </a:moveTo>
                  <a:cubicBezTo>
                    <a:pt x="85" y="97"/>
                    <a:pt x="85" y="97"/>
                    <a:pt x="85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140"/>
                    <a:pt x="106" y="140"/>
                    <a:pt x="106" y="140"/>
                  </a:cubicBezTo>
                  <a:lnTo>
                    <a:pt x="8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Freeform 623">
              <a:extLst>
                <a:ext uri="{FF2B5EF4-FFF2-40B4-BE49-F238E27FC236}">
                  <a16:creationId xmlns:a16="http://schemas.microsoft.com/office/drawing/2014/main" id="{CC904FF7-864B-7422-772B-40543CDEE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0" y="2448"/>
              <a:ext cx="85" cy="157"/>
            </a:xfrm>
            <a:custGeom>
              <a:avLst/>
              <a:gdLst>
                <a:gd name="T0" fmla="*/ 117 w 128"/>
                <a:gd name="T1" fmla="*/ 140 h 236"/>
                <a:gd name="T2" fmla="*/ 106 w 128"/>
                <a:gd name="T3" fmla="*/ 140 h 236"/>
                <a:gd name="T4" fmla="*/ 106 w 128"/>
                <a:gd name="T5" fmla="*/ 97 h 236"/>
                <a:gd name="T6" fmla="*/ 117 w 128"/>
                <a:gd name="T7" fmla="*/ 97 h 236"/>
                <a:gd name="T8" fmla="*/ 128 w 128"/>
                <a:gd name="T9" fmla="*/ 87 h 236"/>
                <a:gd name="T10" fmla="*/ 117 w 128"/>
                <a:gd name="T11" fmla="*/ 76 h 236"/>
                <a:gd name="T12" fmla="*/ 106 w 128"/>
                <a:gd name="T13" fmla="*/ 76 h 236"/>
                <a:gd name="T14" fmla="*/ 96 w 128"/>
                <a:gd name="T15" fmla="*/ 65 h 236"/>
                <a:gd name="T16" fmla="*/ 85 w 128"/>
                <a:gd name="T17" fmla="*/ 76 h 236"/>
                <a:gd name="T18" fmla="*/ 64 w 128"/>
                <a:gd name="T19" fmla="*/ 76 h 236"/>
                <a:gd name="T20" fmla="*/ 53 w 128"/>
                <a:gd name="T21" fmla="*/ 65 h 236"/>
                <a:gd name="T22" fmla="*/ 42 w 128"/>
                <a:gd name="T23" fmla="*/ 76 h 236"/>
                <a:gd name="T24" fmla="*/ 21 w 128"/>
                <a:gd name="T25" fmla="*/ 76 h 236"/>
                <a:gd name="T26" fmla="*/ 21 w 128"/>
                <a:gd name="T27" fmla="*/ 48 h 236"/>
                <a:gd name="T28" fmla="*/ 50 w 128"/>
                <a:gd name="T29" fmla="*/ 20 h 236"/>
                <a:gd name="T30" fmla="*/ 50 w 128"/>
                <a:gd name="T31" fmla="*/ 4 h 236"/>
                <a:gd name="T32" fmla="*/ 35 w 128"/>
                <a:gd name="T33" fmla="*/ 4 h 236"/>
                <a:gd name="T34" fmla="*/ 3 w 128"/>
                <a:gd name="T35" fmla="*/ 36 h 236"/>
                <a:gd name="T36" fmla="*/ 0 w 128"/>
                <a:gd name="T37" fmla="*/ 44 h 236"/>
                <a:gd name="T38" fmla="*/ 0 w 128"/>
                <a:gd name="T39" fmla="*/ 193 h 236"/>
                <a:gd name="T40" fmla="*/ 3 w 128"/>
                <a:gd name="T41" fmla="*/ 201 h 236"/>
                <a:gd name="T42" fmla="*/ 35 w 128"/>
                <a:gd name="T43" fmla="*/ 233 h 236"/>
                <a:gd name="T44" fmla="*/ 42 w 128"/>
                <a:gd name="T45" fmla="*/ 236 h 236"/>
                <a:gd name="T46" fmla="*/ 50 w 128"/>
                <a:gd name="T47" fmla="*/ 233 h 236"/>
                <a:gd name="T48" fmla="*/ 50 w 128"/>
                <a:gd name="T49" fmla="*/ 218 h 236"/>
                <a:gd name="T50" fmla="*/ 21 w 128"/>
                <a:gd name="T51" fmla="*/ 189 h 236"/>
                <a:gd name="T52" fmla="*/ 21 w 128"/>
                <a:gd name="T53" fmla="*/ 161 h 236"/>
                <a:gd name="T54" fmla="*/ 42 w 128"/>
                <a:gd name="T55" fmla="*/ 161 h 236"/>
                <a:gd name="T56" fmla="*/ 53 w 128"/>
                <a:gd name="T57" fmla="*/ 172 h 236"/>
                <a:gd name="T58" fmla="*/ 64 w 128"/>
                <a:gd name="T59" fmla="*/ 161 h 236"/>
                <a:gd name="T60" fmla="*/ 85 w 128"/>
                <a:gd name="T61" fmla="*/ 161 h 236"/>
                <a:gd name="T62" fmla="*/ 96 w 128"/>
                <a:gd name="T63" fmla="*/ 172 h 236"/>
                <a:gd name="T64" fmla="*/ 106 w 128"/>
                <a:gd name="T65" fmla="*/ 161 h 236"/>
                <a:gd name="T66" fmla="*/ 117 w 128"/>
                <a:gd name="T67" fmla="*/ 161 h 236"/>
                <a:gd name="T68" fmla="*/ 128 w 128"/>
                <a:gd name="T69" fmla="*/ 151 h 236"/>
                <a:gd name="T70" fmla="*/ 117 w 128"/>
                <a:gd name="T71" fmla="*/ 140 h 236"/>
                <a:gd name="T72" fmla="*/ 21 w 128"/>
                <a:gd name="T73" fmla="*/ 140 h 236"/>
                <a:gd name="T74" fmla="*/ 21 w 128"/>
                <a:gd name="T75" fmla="*/ 97 h 236"/>
                <a:gd name="T76" fmla="*/ 42 w 128"/>
                <a:gd name="T77" fmla="*/ 97 h 236"/>
                <a:gd name="T78" fmla="*/ 42 w 128"/>
                <a:gd name="T79" fmla="*/ 140 h 236"/>
                <a:gd name="T80" fmla="*/ 21 w 128"/>
                <a:gd name="T81" fmla="*/ 140 h 236"/>
                <a:gd name="T82" fmla="*/ 64 w 128"/>
                <a:gd name="T83" fmla="*/ 140 h 236"/>
                <a:gd name="T84" fmla="*/ 64 w 128"/>
                <a:gd name="T85" fmla="*/ 97 h 236"/>
                <a:gd name="T86" fmla="*/ 85 w 128"/>
                <a:gd name="T87" fmla="*/ 97 h 236"/>
                <a:gd name="T88" fmla="*/ 85 w 128"/>
                <a:gd name="T89" fmla="*/ 140 h 236"/>
                <a:gd name="T90" fmla="*/ 64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117" y="140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17" y="97"/>
                    <a:pt x="117" y="97"/>
                    <a:pt x="117" y="97"/>
                  </a:cubicBezTo>
                  <a:cubicBezTo>
                    <a:pt x="123" y="97"/>
                    <a:pt x="128" y="93"/>
                    <a:pt x="128" y="87"/>
                  </a:cubicBezTo>
                  <a:cubicBezTo>
                    <a:pt x="128" y="81"/>
                    <a:pt x="123" y="76"/>
                    <a:pt x="117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0"/>
                    <a:pt x="102" y="65"/>
                    <a:pt x="96" y="65"/>
                  </a:cubicBezTo>
                  <a:cubicBezTo>
                    <a:pt x="90" y="65"/>
                    <a:pt x="85" y="70"/>
                    <a:pt x="85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0"/>
                    <a:pt x="59" y="65"/>
                    <a:pt x="53" y="65"/>
                  </a:cubicBezTo>
                  <a:cubicBezTo>
                    <a:pt x="47" y="65"/>
                    <a:pt x="42" y="70"/>
                    <a:pt x="42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4" y="15"/>
                    <a:pt x="54" y="9"/>
                    <a:pt x="50" y="4"/>
                  </a:cubicBezTo>
                  <a:cubicBezTo>
                    <a:pt x="46" y="0"/>
                    <a:pt x="39" y="0"/>
                    <a:pt x="35" y="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" y="38"/>
                    <a:pt x="0" y="41"/>
                    <a:pt x="0" y="44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6"/>
                    <a:pt x="1" y="199"/>
                    <a:pt x="3" y="201"/>
                  </a:cubicBezTo>
                  <a:cubicBezTo>
                    <a:pt x="35" y="233"/>
                    <a:pt x="35" y="233"/>
                    <a:pt x="35" y="233"/>
                  </a:cubicBezTo>
                  <a:cubicBezTo>
                    <a:pt x="37" y="235"/>
                    <a:pt x="40" y="236"/>
                    <a:pt x="42" y="236"/>
                  </a:cubicBezTo>
                  <a:cubicBezTo>
                    <a:pt x="45" y="236"/>
                    <a:pt x="48" y="235"/>
                    <a:pt x="50" y="233"/>
                  </a:cubicBezTo>
                  <a:cubicBezTo>
                    <a:pt x="54" y="229"/>
                    <a:pt x="54" y="222"/>
                    <a:pt x="50" y="218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42" y="161"/>
                    <a:pt x="42" y="161"/>
                    <a:pt x="42" y="161"/>
                  </a:cubicBezTo>
                  <a:cubicBezTo>
                    <a:pt x="42" y="167"/>
                    <a:pt x="47" y="172"/>
                    <a:pt x="53" y="172"/>
                  </a:cubicBezTo>
                  <a:cubicBezTo>
                    <a:pt x="59" y="172"/>
                    <a:pt x="64" y="167"/>
                    <a:pt x="64" y="161"/>
                  </a:cubicBezTo>
                  <a:cubicBezTo>
                    <a:pt x="85" y="161"/>
                    <a:pt x="85" y="161"/>
                    <a:pt x="85" y="161"/>
                  </a:cubicBezTo>
                  <a:cubicBezTo>
                    <a:pt x="85" y="167"/>
                    <a:pt x="90" y="172"/>
                    <a:pt x="96" y="172"/>
                  </a:cubicBezTo>
                  <a:cubicBezTo>
                    <a:pt x="102" y="172"/>
                    <a:pt x="106" y="167"/>
                    <a:pt x="106" y="161"/>
                  </a:cubicBezTo>
                  <a:cubicBezTo>
                    <a:pt x="117" y="161"/>
                    <a:pt x="117" y="161"/>
                    <a:pt x="117" y="161"/>
                  </a:cubicBezTo>
                  <a:cubicBezTo>
                    <a:pt x="123" y="161"/>
                    <a:pt x="128" y="157"/>
                    <a:pt x="128" y="151"/>
                  </a:cubicBezTo>
                  <a:cubicBezTo>
                    <a:pt x="128" y="145"/>
                    <a:pt x="123" y="140"/>
                    <a:pt x="117" y="140"/>
                  </a:cubicBezTo>
                  <a:close/>
                  <a:moveTo>
                    <a:pt x="21" y="14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40"/>
                    <a:pt x="42" y="140"/>
                    <a:pt x="42" y="140"/>
                  </a:cubicBezTo>
                  <a:lnTo>
                    <a:pt x="21" y="140"/>
                  </a:lnTo>
                  <a:close/>
                  <a:moveTo>
                    <a:pt x="64" y="140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40"/>
                    <a:pt x="85" y="140"/>
                    <a:pt x="85" y="140"/>
                  </a:cubicBezTo>
                  <a:lnTo>
                    <a:pt x="64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3" name="Rounded Rectangle 188">
            <a:extLst>
              <a:ext uri="{FF2B5EF4-FFF2-40B4-BE49-F238E27FC236}">
                <a16:creationId xmlns:a16="http://schemas.microsoft.com/office/drawing/2014/main" id="{59CB859A-4F44-1CDC-4CB7-CB112F4176F1}"/>
              </a:ext>
            </a:extLst>
          </p:cNvPr>
          <p:cNvSpPr>
            <a:spLocks/>
          </p:cNvSpPr>
          <p:nvPr/>
        </p:nvSpPr>
        <p:spPr bwMode="gray">
          <a:xfrm>
            <a:off x="665622" y="4925646"/>
            <a:ext cx="1440000" cy="576000"/>
          </a:xfrm>
          <a:prstGeom prst="round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0" rIns="0" bIns="0" rtlCol="0" anchor="ctr"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cs-CZ" sz="13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kytovatelé datového připojení</a:t>
            </a:r>
          </a:p>
        </p:txBody>
      </p:sp>
      <p:sp>
        <p:nvSpPr>
          <p:cNvPr id="34" name="Rounded Rectangle 190">
            <a:extLst>
              <a:ext uri="{FF2B5EF4-FFF2-40B4-BE49-F238E27FC236}">
                <a16:creationId xmlns:a16="http://schemas.microsoft.com/office/drawing/2014/main" id="{62989BCF-7D79-BCAE-E7F2-743EE6BF9545}"/>
              </a:ext>
            </a:extLst>
          </p:cNvPr>
          <p:cNvSpPr>
            <a:spLocks/>
          </p:cNvSpPr>
          <p:nvPr/>
        </p:nvSpPr>
        <p:spPr bwMode="gray">
          <a:xfrm>
            <a:off x="648751" y="5587183"/>
            <a:ext cx="1440000" cy="612000"/>
          </a:xfrm>
          <a:prstGeom prst="round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0" rIns="0" bIns="0" rtlCol="0" anchor="t"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cs-CZ" sz="13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robci a dodavatelé C-ITS systémů</a:t>
            </a:r>
          </a:p>
        </p:txBody>
      </p:sp>
      <p:sp>
        <p:nvSpPr>
          <p:cNvPr id="36" name="Rounded Rectangle 188">
            <a:extLst>
              <a:ext uri="{FF2B5EF4-FFF2-40B4-BE49-F238E27FC236}">
                <a16:creationId xmlns:a16="http://schemas.microsoft.com/office/drawing/2014/main" id="{28B8BE01-1C22-4B3C-20F4-3D98CD2E1B2E}"/>
              </a:ext>
            </a:extLst>
          </p:cNvPr>
          <p:cNvSpPr>
            <a:spLocks/>
          </p:cNvSpPr>
          <p:nvPr/>
        </p:nvSpPr>
        <p:spPr bwMode="gray">
          <a:xfrm>
            <a:off x="10233673" y="5151789"/>
            <a:ext cx="1440000" cy="324000"/>
          </a:xfrm>
          <a:prstGeom prst="round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0" rIns="0" bIns="0" rtlCol="0" anchor="ctr"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cs-CZ" sz="13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ovace</a:t>
            </a:r>
          </a:p>
        </p:txBody>
      </p:sp>
      <p:sp>
        <p:nvSpPr>
          <p:cNvPr id="37" name="Rounded Rectangle 188">
            <a:extLst>
              <a:ext uri="{FF2B5EF4-FFF2-40B4-BE49-F238E27FC236}">
                <a16:creationId xmlns:a16="http://schemas.microsoft.com/office/drawing/2014/main" id="{C3ED450C-28EE-5ABA-794F-1040BF042F09}"/>
              </a:ext>
            </a:extLst>
          </p:cNvPr>
          <p:cNvSpPr>
            <a:spLocks/>
          </p:cNvSpPr>
          <p:nvPr/>
        </p:nvSpPr>
        <p:spPr bwMode="gray">
          <a:xfrm>
            <a:off x="10233673" y="5535215"/>
            <a:ext cx="1440000" cy="324000"/>
          </a:xfrm>
          <a:prstGeom prst="round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0" rIns="0" bIns="0" rtlCol="0" anchor="ctr"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cs-CZ" sz="13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ěda a výzkum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1A94FCC-0571-F42B-67A7-1E6ECDDE4CD3}"/>
              </a:ext>
            </a:extLst>
          </p:cNvPr>
          <p:cNvSpPr/>
          <p:nvPr/>
        </p:nvSpPr>
        <p:spPr bwMode="gray">
          <a:xfrm>
            <a:off x="4348406" y="5277910"/>
            <a:ext cx="18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360000" tIns="36000" rIns="36000" bIns="36000" rtlCol="0" anchor="t"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latin typeface="Calibri" panose="020F0502020204030204" pitchFamily="34" charset="0"/>
                <a:cs typeface="Calibri" panose="020F0502020204030204" pitchFamily="34" charset="0"/>
              </a:rPr>
              <a:t>Složky IZS</a:t>
            </a:r>
          </a:p>
        </p:txBody>
      </p:sp>
      <p:grpSp>
        <p:nvGrpSpPr>
          <p:cNvPr id="41" name="Group 822">
            <a:extLst>
              <a:ext uri="{FF2B5EF4-FFF2-40B4-BE49-F238E27FC236}">
                <a16:creationId xmlns:a16="http://schemas.microsoft.com/office/drawing/2014/main" id="{11B889CE-846B-80C1-F2DF-07E266E638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4004" y="5277914"/>
            <a:ext cx="360000" cy="360000"/>
            <a:chOff x="2732" y="3195"/>
            <a:chExt cx="340" cy="340"/>
          </a:xfrm>
          <a:solidFill>
            <a:schemeClr val="tx1"/>
          </a:solidFill>
        </p:grpSpPr>
        <p:sp>
          <p:nvSpPr>
            <p:cNvPr id="42" name="Freeform 823">
              <a:extLst>
                <a:ext uri="{FF2B5EF4-FFF2-40B4-BE49-F238E27FC236}">
                  <a16:creationId xmlns:a16="http://schemas.microsoft.com/office/drawing/2014/main" id="{82F62497-90DF-3ACE-3481-F2EC35EE2B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2" y="319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Freeform 824">
              <a:extLst>
                <a:ext uri="{FF2B5EF4-FFF2-40B4-BE49-F238E27FC236}">
                  <a16:creationId xmlns:a16="http://schemas.microsoft.com/office/drawing/2014/main" id="{714B9475-7EB6-DB8F-A027-2B2D987C2A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" y="3280"/>
              <a:ext cx="227" cy="163"/>
            </a:xfrm>
            <a:custGeom>
              <a:avLst/>
              <a:gdLst>
                <a:gd name="T0" fmla="*/ 256 w 342"/>
                <a:gd name="T1" fmla="*/ 96 h 245"/>
                <a:gd name="T2" fmla="*/ 246 w 342"/>
                <a:gd name="T3" fmla="*/ 32 h 245"/>
                <a:gd name="T4" fmla="*/ 203 w 342"/>
                <a:gd name="T5" fmla="*/ 0 h 245"/>
                <a:gd name="T6" fmla="*/ 32 w 342"/>
                <a:gd name="T7" fmla="*/ 32 h 245"/>
                <a:gd name="T8" fmla="*/ 22 w 342"/>
                <a:gd name="T9" fmla="*/ 74 h 245"/>
                <a:gd name="T10" fmla="*/ 0 w 342"/>
                <a:gd name="T11" fmla="*/ 85 h 245"/>
                <a:gd name="T12" fmla="*/ 22 w 342"/>
                <a:gd name="T13" fmla="*/ 96 h 245"/>
                <a:gd name="T14" fmla="*/ 11 w 342"/>
                <a:gd name="T15" fmla="*/ 117 h 245"/>
                <a:gd name="T16" fmla="*/ 11 w 342"/>
                <a:gd name="T17" fmla="*/ 138 h 245"/>
                <a:gd name="T18" fmla="*/ 22 w 342"/>
                <a:gd name="T19" fmla="*/ 213 h 245"/>
                <a:gd name="T20" fmla="*/ 56 w 342"/>
                <a:gd name="T21" fmla="*/ 224 h 245"/>
                <a:gd name="T22" fmla="*/ 116 w 342"/>
                <a:gd name="T23" fmla="*/ 224 h 245"/>
                <a:gd name="T24" fmla="*/ 267 w 342"/>
                <a:gd name="T25" fmla="*/ 245 h 245"/>
                <a:gd name="T26" fmla="*/ 331 w 342"/>
                <a:gd name="T27" fmla="*/ 224 h 245"/>
                <a:gd name="T28" fmla="*/ 342 w 342"/>
                <a:gd name="T29" fmla="*/ 128 h 245"/>
                <a:gd name="T30" fmla="*/ 203 w 342"/>
                <a:gd name="T31" fmla="*/ 21 h 245"/>
                <a:gd name="T32" fmla="*/ 192 w 342"/>
                <a:gd name="T33" fmla="*/ 32 h 245"/>
                <a:gd name="T34" fmla="*/ 43 w 342"/>
                <a:gd name="T35" fmla="*/ 96 h 245"/>
                <a:gd name="T36" fmla="*/ 64 w 342"/>
                <a:gd name="T37" fmla="*/ 117 h 245"/>
                <a:gd name="T38" fmla="*/ 43 w 342"/>
                <a:gd name="T39" fmla="*/ 96 h 245"/>
                <a:gd name="T40" fmla="*/ 107 w 342"/>
                <a:gd name="T41" fmla="*/ 117 h 245"/>
                <a:gd name="T42" fmla="*/ 86 w 342"/>
                <a:gd name="T43" fmla="*/ 96 h 245"/>
                <a:gd name="T44" fmla="*/ 150 w 342"/>
                <a:gd name="T45" fmla="*/ 96 h 245"/>
                <a:gd name="T46" fmla="*/ 128 w 342"/>
                <a:gd name="T47" fmla="*/ 117 h 245"/>
                <a:gd name="T48" fmla="*/ 150 w 342"/>
                <a:gd name="T49" fmla="*/ 96 h 245"/>
                <a:gd name="T50" fmla="*/ 192 w 342"/>
                <a:gd name="T51" fmla="*/ 117 h 245"/>
                <a:gd name="T52" fmla="*/ 171 w 342"/>
                <a:gd name="T53" fmla="*/ 96 h 245"/>
                <a:gd name="T54" fmla="*/ 43 w 342"/>
                <a:gd name="T55" fmla="*/ 138 h 245"/>
                <a:gd name="T56" fmla="*/ 224 w 342"/>
                <a:gd name="T57" fmla="*/ 128 h 245"/>
                <a:gd name="T58" fmla="*/ 214 w 342"/>
                <a:gd name="T59" fmla="*/ 96 h 245"/>
                <a:gd name="T60" fmla="*/ 214 w 342"/>
                <a:gd name="T61" fmla="*/ 74 h 245"/>
                <a:gd name="T62" fmla="*/ 43 w 342"/>
                <a:gd name="T63" fmla="*/ 53 h 245"/>
                <a:gd name="T64" fmla="*/ 235 w 342"/>
                <a:gd name="T65" fmla="*/ 202 h 245"/>
                <a:gd name="T66" fmla="*/ 86 w 342"/>
                <a:gd name="T67" fmla="*/ 181 h 245"/>
                <a:gd name="T68" fmla="*/ 43 w 342"/>
                <a:gd name="T69" fmla="*/ 202 h 245"/>
                <a:gd name="T70" fmla="*/ 86 w 342"/>
                <a:gd name="T71" fmla="*/ 224 h 245"/>
                <a:gd name="T72" fmla="*/ 86 w 342"/>
                <a:gd name="T73" fmla="*/ 202 h 245"/>
                <a:gd name="T74" fmla="*/ 86 w 342"/>
                <a:gd name="T75" fmla="*/ 224 h 245"/>
                <a:gd name="T76" fmla="*/ 256 w 342"/>
                <a:gd name="T77" fmla="*/ 213 h 245"/>
                <a:gd name="T78" fmla="*/ 278 w 342"/>
                <a:gd name="T79" fmla="*/ 213 h 245"/>
                <a:gd name="T80" fmla="*/ 320 w 342"/>
                <a:gd name="T81" fmla="*/ 202 h 245"/>
                <a:gd name="T82" fmla="*/ 267 w 342"/>
                <a:gd name="T83" fmla="*/ 181 h 245"/>
                <a:gd name="T84" fmla="*/ 256 w 342"/>
                <a:gd name="T85" fmla="*/ 117 h 245"/>
                <a:gd name="T86" fmla="*/ 320 w 342"/>
                <a:gd name="T87" fmla="*/ 1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2" h="245">
                  <a:moveTo>
                    <a:pt x="310" y="96"/>
                  </a:moveTo>
                  <a:cubicBezTo>
                    <a:pt x="256" y="96"/>
                    <a:pt x="256" y="96"/>
                    <a:pt x="256" y="96"/>
                  </a:cubicBezTo>
                  <a:cubicBezTo>
                    <a:pt x="256" y="42"/>
                    <a:pt x="256" y="42"/>
                    <a:pt x="256" y="42"/>
                  </a:cubicBezTo>
                  <a:cubicBezTo>
                    <a:pt x="256" y="36"/>
                    <a:pt x="252" y="32"/>
                    <a:pt x="246" y="32"/>
                  </a:cubicBezTo>
                  <a:cubicBezTo>
                    <a:pt x="235" y="32"/>
                    <a:pt x="235" y="32"/>
                    <a:pt x="235" y="32"/>
                  </a:cubicBezTo>
                  <a:cubicBezTo>
                    <a:pt x="235" y="14"/>
                    <a:pt x="221" y="0"/>
                    <a:pt x="203" y="0"/>
                  </a:cubicBezTo>
                  <a:cubicBezTo>
                    <a:pt x="185" y="0"/>
                    <a:pt x="171" y="14"/>
                    <a:pt x="171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6" y="32"/>
                    <a:pt x="22" y="36"/>
                    <a:pt x="22" y="42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5" y="74"/>
                    <a:pt x="0" y="79"/>
                    <a:pt x="0" y="85"/>
                  </a:cubicBezTo>
                  <a:cubicBezTo>
                    <a:pt x="0" y="91"/>
                    <a:pt x="5" y="96"/>
                    <a:pt x="11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134"/>
                    <a:pt x="5" y="138"/>
                    <a:pt x="11" y="138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22" y="219"/>
                    <a:pt x="26" y="224"/>
                    <a:pt x="32" y="224"/>
                  </a:cubicBezTo>
                  <a:cubicBezTo>
                    <a:pt x="56" y="224"/>
                    <a:pt x="56" y="224"/>
                    <a:pt x="56" y="224"/>
                  </a:cubicBezTo>
                  <a:cubicBezTo>
                    <a:pt x="60" y="236"/>
                    <a:pt x="72" y="245"/>
                    <a:pt x="86" y="245"/>
                  </a:cubicBezTo>
                  <a:cubicBezTo>
                    <a:pt x="100" y="245"/>
                    <a:pt x="111" y="236"/>
                    <a:pt x="116" y="224"/>
                  </a:cubicBezTo>
                  <a:cubicBezTo>
                    <a:pt x="237" y="224"/>
                    <a:pt x="237" y="224"/>
                    <a:pt x="237" y="224"/>
                  </a:cubicBezTo>
                  <a:cubicBezTo>
                    <a:pt x="241" y="236"/>
                    <a:pt x="253" y="245"/>
                    <a:pt x="267" y="245"/>
                  </a:cubicBezTo>
                  <a:cubicBezTo>
                    <a:pt x="281" y="245"/>
                    <a:pt x="293" y="236"/>
                    <a:pt x="297" y="224"/>
                  </a:cubicBezTo>
                  <a:cubicBezTo>
                    <a:pt x="331" y="224"/>
                    <a:pt x="331" y="224"/>
                    <a:pt x="331" y="224"/>
                  </a:cubicBezTo>
                  <a:cubicBezTo>
                    <a:pt x="337" y="224"/>
                    <a:pt x="342" y="219"/>
                    <a:pt x="342" y="213"/>
                  </a:cubicBezTo>
                  <a:cubicBezTo>
                    <a:pt x="342" y="128"/>
                    <a:pt x="342" y="128"/>
                    <a:pt x="342" y="128"/>
                  </a:cubicBezTo>
                  <a:cubicBezTo>
                    <a:pt x="342" y="110"/>
                    <a:pt x="327" y="96"/>
                    <a:pt x="310" y="96"/>
                  </a:cubicBezTo>
                  <a:close/>
                  <a:moveTo>
                    <a:pt x="203" y="21"/>
                  </a:moveTo>
                  <a:cubicBezTo>
                    <a:pt x="209" y="21"/>
                    <a:pt x="214" y="26"/>
                    <a:pt x="214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26"/>
                    <a:pt x="197" y="21"/>
                    <a:pt x="203" y="21"/>
                  </a:cubicBezTo>
                  <a:close/>
                  <a:moveTo>
                    <a:pt x="43" y="96"/>
                  </a:moveTo>
                  <a:cubicBezTo>
                    <a:pt x="64" y="96"/>
                    <a:pt x="64" y="96"/>
                    <a:pt x="64" y="96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43" y="117"/>
                    <a:pt x="43" y="117"/>
                    <a:pt x="43" y="117"/>
                  </a:cubicBezTo>
                  <a:lnTo>
                    <a:pt x="43" y="96"/>
                  </a:lnTo>
                  <a:close/>
                  <a:moveTo>
                    <a:pt x="107" y="96"/>
                  </a:moveTo>
                  <a:cubicBezTo>
                    <a:pt x="107" y="117"/>
                    <a:pt x="107" y="117"/>
                    <a:pt x="107" y="117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6" y="96"/>
                    <a:pt x="86" y="96"/>
                    <a:pt x="86" y="96"/>
                  </a:cubicBezTo>
                  <a:lnTo>
                    <a:pt x="107" y="96"/>
                  </a:lnTo>
                  <a:close/>
                  <a:moveTo>
                    <a:pt x="150" y="96"/>
                  </a:moveTo>
                  <a:cubicBezTo>
                    <a:pt x="150" y="117"/>
                    <a:pt x="150" y="117"/>
                    <a:pt x="150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96"/>
                    <a:pt x="128" y="96"/>
                    <a:pt x="128" y="96"/>
                  </a:cubicBezTo>
                  <a:lnTo>
                    <a:pt x="150" y="96"/>
                  </a:lnTo>
                  <a:close/>
                  <a:moveTo>
                    <a:pt x="192" y="96"/>
                  </a:moveTo>
                  <a:cubicBezTo>
                    <a:pt x="192" y="117"/>
                    <a:pt x="192" y="117"/>
                    <a:pt x="192" y="117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171" y="96"/>
                    <a:pt x="171" y="96"/>
                    <a:pt x="171" y="96"/>
                  </a:cubicBezTo>
                  <a:lnTo>
                    <a:pt x="192" y="96"/>
                  </a:lnTo>
                  <a:close/>
                  <a:moveTo>
                    <a:pt x="43" y="138"/>
                  </a:moveTo>
                  <a:cubicBezTo>
                    <a:pt x="214" y="138"/>
                    <a:pt x="214" y="138"/>
                    <a:pt x="214" y="138"/>
                  </a:cubicBezTo>
                  <a:cubicBezTo>
                    <a:pt x="220" y="138"/>
                    <a:pt x="224" y="134"/>
                    <a:pt x="224" y="128"/>
                  </a:cubicBezTo>
                  <a:cubicBezTo>
                    <a:pt x="224" y="122"/>
                    <a:pt x="219" y="117"/>
                    <a:pt x="214" y="117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9" y="96"/>
                    <a:pt x="224" y="91"/>
                    <a:pt x="224" y="85"/>
                  </a:cubicBezTo>
                  <a:cubicBezTo>
                    <a:pt x="224" y="79"/>
                    <a:pt x="220" y="74"/>
                    <a:pt x="21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235" y="53"/>
                    <a:pt x="235" y="53"/>
                    <a:pt x="235" y="53"/>
                  </a:cubicBezTo>
                  <a:cubicBezTo>
                    <a:pt x="235" y="202"/>
                    <a:pt x="235" y="202"/>
                    <a:pt x="235" y="202"/>
                  </a:cubicBezTo>
                  <a:cubicBezTo>
                    <a:pt x="116" y="202"/>
                    <a:pt x="116" y="202"/>
                    <a:pt x="116" y="202"/>
                  </a:cubicBezTo>
                  <a:cubicBezTo>
                    <a:pt x="111" y="190"/>
                    <a:pt x="100" y="181"/>
                    <a:pt x="86" y="181"/>
                  </a:cubicBezTo>
                  <a:cubicBezTo>
                    <a:pt x="72" y="181"/>
                    <a:pt x="60" y="190"/>
                    <a:pt x="56" y="202"/>
                  </a:cubicBezTo>
                  <a:cubicBezTo>
                    <a:pt x="43" y="202"/>
                    <a:pt x="43" y="202"/>
                    <a:pt x="43" y="202"/>
                  </a:cubicBezTo>
                  <a:lnTo>
                    <a:pt x="43" y="138"/>
                  </a:lnTo>
                  <a:close/>
                  <a:moveTo>
                    <a:pt x="86" y="224"/>
                  </a:moveTo>
                  <a:cubicBezTo>
                    <a:pt x="80" y="224"/>
                    <a:pt x="75" y="219"/>
                    <a:pt x="75" y="213"/>
                  </a:cubicBezTo>
                  <a:cubicBezTo>
                    <a:pt x="75" y="207"/>
                    <a:pt x="80" y="202"/>
                    <a:pt x="86" y="202"/>
                  </a:cubicBezTo>
                  <a:cubicBezTo>
                    <a:pt x="92" y="202"/>
                    <a:pt x="96" y="207"/>
                    <a:pt x="96" y="213"/>
                  </a:cubicBezTo>
                  <a:cubicBezTo>
                    <a:pt x="96" y="219"/>
                    <a:pt x="92" y="224"/>
                    <a:pt x="86" y="224"/>
                  </a:cubicBezTo>
                  <a:close/>
                  <a:moveTo>
                    <a:pt x="267" y="224"/>
                  </a:moveTo>
                  <a:cubicBezTo>
                    <a:pt x="261" y="224"/>
                    <a:pt x="256" y="219"/>
                    <a:pt x="256" y="213"/>
                  </a:cubicBezTo>
                  <a:cubicBezTo>
                    <a:pt x="256" y="207"/>
                    <a:pt x="261" y="202"/>
                    <a:pt x="267" y="202"/>
                  </a:cubicBezTo>
                  <a:cubicBezTo>
                    <a:pt x="273" y="202"/>
                    <a:pt x="278" y="207"/>
                    <a:pt x="278" y="213"/>
                  </a:cubicBezTo>
                  <a:cubicBezTo>
                    <a:pt x="278" y="219"/>
                    <a:pt x="273" y="224"/>
                    <a:pt x="267" y="224"/>
                  </a:cubicBezTo>
                  <a:close/>
                  <a:moveTo>
                    <a:pt x="320" y="202"/>
                  </a:moveTo>
                  <a:cubicBezTo>
                    <a:pt x="297" y="202"/>
                    <a:pt x="297" y="202"/>
                    <a:pt x="297" y="202"/>
                  </a:cubicBezTo>
                  <a:cubicBezTo>
                    <a:pt x="293" y="190"/>
                    <a:pt x="281" y="181"/>
                    <a:pt x="267" y="181"/>
                  </a:cubicBezTo>
                  <a:cubicBezTo>
                    <a:pt x="263" y="181"/>
                    <a:pt x="260" y="182"/>
                    <a:pt x="256" y="183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10" y="117"/>
                    <a:pt x="310" y="117"/>
                    <a:pt x="310" y="117"/>
                  </a:cubicBezTo>
                  <a:cubicBezTo>
                    <a:pt x="316" y="117"/>
                    <a:pt x="320" y="122"/>
                    <a:pt x="320" y="128"/>
                  </a:cubicBezTo>
                  <a:lnTo>
                    <a:pt x="32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8D831ECA-70D7-7F41-3F8C-E95038171FF1}"/>
              </a:ext>
            </a:extLst>
          </p:cNvPr>
          <p:cNvSpPr/>
          <p:nvPr/>
        </p:nvSpPr>
        <p:spPr bwMode="gray">
          <a:xfrm>
            <a:off x="6273484" y="5257957"/>
            <a:ext cx="18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360000" tIns="36000" rIns="36000" bIns="36000" rtlCol="0" anchor="t"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latin typeface="Calibri" panose="020F0502020204030204" pitchFamily="34" charset="0"/>
                <a:cs typeface="Calibri" panose="020F0502020204030204" pitchFamily="34" charset="0"/>
              </a:rPr>
              <a:t>MHD a VHD – dopravní podniky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9921429-5439-5177-5C02-09E0E60BBE46}"/>
              </a:ext>
            </a:extLst>
          </p:cNvPr>
          <p:cNvGrpSpPr/>
          <p:nvPr/>
        </p:nvGrpSpPr>
        <p:grpSpPr>
          <a:xfrm>
            <a:off x="6262332" y="5273367"/>
            <a:ext cx="360000" cy="360000"/>
            <a:chOff x="1819209" y="6276220"/>
            <a:chExt cx="900000" cy="900000"/>
          </a:xfrm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F56A7B22-3CC9-DD49-1F3B-FB2403E1F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0809" y="6785898"/>
              <a:ext cx="516800" cy="274863"/>
            </a:xfrm>
            <a:custGeom>
              <a:avLst/>
              <a:gdLst>
                <a:gd name="T0" fmla="*/ 437 w 469"/>
                <a:gd name="T1" fmla="*/ 249 h 312"/>
                <a:gd name="T2" fmla="*/ 359 w 469"/>
                <a:gd name="T3" fmla="*/ 218 h 312"/>
                <a:gd name="T4" fmla="*/ 343 w 469"/>
                <a:gd name="T5" fmla="*/ 125 h 312"/>
                <a:gd name="T6" fmla="*/ 437 w 469"/>
                <a:gd name="T7" fmla="*/ 141 h 312"/>
                <a:gd name="T8" fmla="*/ 437 w 469"/>
                <a:gd name="T9" fmla="*/ 249 h 312"/>
                <a:gd name="T10" fmla="*/ 359 w 469"/>
                <a:gd name="T11" fmla="*/ 281 h 312"/>
                <a:gd name="T12" fmla="*/ 359 w 469"/>
                <a:gd name="T13" fmla="*/ 249 h 312"/>
                <a:gd name="T14" fmla="*/ 359 w 469"/>
                <a:gd name="T15" fmla="*/ 281 h 312"/>
                <a:gd name="T16" fmla="*/ 94 w 469"/>
                <a:gd name="T17" fmla="*/ 281 h 312"/>
                <a:gd name="T18" fmla="*/ 94 w 469"/>
                <a:gd name="T19" fmla="*/ 249 h 312"/>
                <a:gd name="T20" fmla="*/ 94 w 469"/>
                <a:gd name="T21" fmla="*/ 281 h 312"/>
                <a:gd name="T22" fmla="*/ 31 w 469"/>
                <a:gd name="T23" fmla="*/ 155 h 312"/>
                <a:gd name="T24" fmla="*/ 281 w 469"/>
                <a:gd name="T25" fmla="*/ 62 h 312"/>
                <a:gd name="T26" fmla="*/ 31 w 469"/>
                <a:gd name="T27" fmla="*/ 31 h 312"/>
                <a:gd name="T28" fmla="*/ 312 w 469"/>
                <a:gd name="T29" fmla="*/ 249 h 312"/>
                <a:gd name="T30" fmla="*/ 94 w 469"/>
                <a:gd name="T31" fmla="*/ 218 h 312"/>
                <a:gd name="T32" fmla="*/ 31 w 469"/>
                <a:gd name="T33" fmla="*/ 249 h 312"/>
                <a:gd name="T34" fmla="*/ 31 w 469"/>
                <a:gd name="T35" fmla="*/ 155 h 312"/>
                <a:gd name="T36" fmla="*/ 218 w 469"/>
                <a:gd name="T37" fmla="*/ 94 h 312"/>
                <a:gd name="T38" fmla="*/ 249 w 469"/>
                <a:gd name="T39" fmla="*/ 125 h 312"/>
                <a:gd name="T40" fmla="*/ 218 w 469"/>
                <a:gd name="T41" fmla="*/ 94 h 312"/>
                <a:gd name="T42" fmla="*/ 155 w 469"/>
                <a:gd name="T43" fmla="*/ 94 h 312"/>
                <a:gd name="T44" fmla="*/ 188 w 469"/>
                <a:gd name="T45" fmla="*/ 125 h 312"/>
                <a:gd name="T46" fmla="*/ 155 w 469"/>
                <a:gd name="T47" fmla="*/ 94 h 312"/>
                <a:gd name="T48" fmla="*/ 94 w 469"/>
                <a:gd name="T49" fmla="*/ 94 h 312"/>
                <a:gd name="T50" fmla="*/ 125 w 469"/>
                <a:gd name="T51" fmla="*/ 125 h 312"/>
                <a:gd name="T52" fmla="*/ 94 w 469"/>
                <a:gd name="T53" fmla="*/ 94 h 312"/>
                <a:gd name="T54" fmla="*/ 31 w 469"/>
                <a:gd name="T55" fmla="*/ 94 h 312"/>
                <a:gd name="T56" fmla="*/ 62 w 469"/>
                <a:gd name="T57" fmla="*/ 125 h 312"/>
                <a:gd name="T58" fmla="*/ 31 w 469"/>
                <a:gd name="T59" fmla="*/ 94 h 312"/>
                <a:gd name="T60" fmla="*/ 422 w 469"/>
                <a:gd name="T61" fmla="*/ 94 h 312"/>
                <a:gd name="T62" fmla="*/ 343 w 469"/>
                <a:gd name="T63" fmla="*/ 15 h 312"/>
                <a:gd name="T64" fmla="*/ 15 w 469"/>
                <a:gd name="T65" fmla="*/ 0 h 312"/>
                <a:gd name="T66" fmla="*/ 0 w 469"/>
                <a:gd name="T67" fmla="*/ 265 h 312"/>
                <a:gd name="T68" fmla="*/ 50 w 469"/>
                <a:gd name="T69" fmla="*/ 281 h 312"/>
                <a:gd name="T70" fmla="*/ 138 w 469"/>
                <a:gd name="T71" fmla="*/ 281 h 312"/>
                <a:gd name="T72" fmla="*/ 359 w 469"/>
                <a:gd name="T73" fmla="*/ 312 h 312"/>
                <a:gd name="T74" fmla="*/ 453 w 469"/>
                <a:gd name="T75" fmla="*/ 281 h 312"/>
                <a:gd name="T76" fmla="*/ 469 w 469"/>
                <a:gd name="T77" fmla="*/ 141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9" h="312">
                  <a:moveTo>
                    <a:pt x="437" y="249"/>
                  </a:moveTo>
                  <a:lnTo>
                    <a:pt x="437" y="249"/>
                  </a:lnTo>
                  <a:lnTo>
                    <a:pt x="403" y="249"/>
                  </a:lnTo>
                  <a:cubicBezTo>
                    <a:pt x="397" y="231"/>
                    <a:pt x="379" y="218"/>
                    <a:pt x="359" y="218"/>
                  </a:cubicBezTo>
                  <a:cubicBezTo>
                    <a:pt x="353" y="218"/>
                    <a:pt x="349" y="220"/>
                    <a:pt x="343" y="221"/>
                  </a:cubicBezTo>
                  <a:lnTo>
                    <a:pt x="343" y="125"/>
                  </a:lnTo>
                  <a:lnTo>
                    <a:pt x="422" y="125"/>
                  </a:lnTo>
                  <a:cubicBezTo>
                    <a:pt x="431" y="125"/>
                    <a:pt x="437" y="132"/>
                    <a:pt x="437" y="141"/>
                  </a:cubicBezTo>
                  <a:lnTo>
                    <a:pt x="437" y="249"/>
                  </a:lnTo>
                  <a:lnTo>
                    <a:pt x="437" y="249"/>
                  </a:lnTo>
                  <a:close/>
                  <a:moveTo>
                    <a:pt x="359" y="281"/>
                  </a:moveTo>
                  <a:lnTo>
                    <a:pt x="359" y="281"/>
                  </a:lnTo>
                  <a:cubicBezTo>
                    <a:pt x="350" y="281"/>
                    <a:pt x="343" y="274"/>
                    <a:pt x="343" y="265"/>
                  </a:cubicBezTo>
                  <a:cubicBezTo>
                    <a:pt x="343" y="256"/>
                    <a:pt x="350" y="249"/>
                    <a:pt x="359" y="249"/>
                  </a:cubicBezTo>
                  <a:cubicBezTo>
                    <a:pt x="368" y="249"/>
                    <a:pt x="375" y="256"/>
                    <a:pt x="375" y="265"/>
                  </a:cubicBezTo>
                  <a:cubicBezTo>
                    <a:pt x="375" y="274"/>
                    <a:pt x="368" y="281"/>
                    <a:pt x="359" y="281"/>
                  </a:cubicBezTo>
                  <a:close/>
                  <a:moveTo>
                    <a:pt x="94" y="281"/>
                  </a:moveTo>
                  <a:lnTo>
                    <a:pt x="94" y="281"/>
                  </a:lnTo>
                  <a:cubicBezTo>
                    <a:pt x="85" y="281"/>
                    <a:pt x="78" y="274"/>
                    <a:pt x="78" y="265"/>
                  </a:cubicBezTo>
                  <a:cubicBezTo>
                    <a:pt x="78" y="256"/>
                    <a:pt x="85" y="249"/>
                    <a:pt x="94" y="249"/>
                  </a:cubicBezTo>
                  <a:cubicBezTo>
                    <a:pt x="103" y="249"/>
                    <a:pt x="109" y="256"/>
                    <a:pt x="109" y="265"/>
                  </a:cubicBezTo>
                  <a:cubicBezTo>
                    <a:pt x="109" y="274"/>
                    <a:pt x="103" y="281"/>
                    <a:pt x="94" y="281"/>
                  </a:cubicBezTo>
                  <a:close/>
                  <a:moveTo>
                    <a:pt x="31" y="155"/>
                  </a:moveTo>
                  <a:lnTo>
                    <a:pt x="31" y="155"/>
                  </a:lnTo>
                  <a:lnTo>
                    <a:pt x="281" y="155"/>
                  </a:lnTo>
                  <a:lnTo>
                    <a:pt x="281" y="62"/>
                  </a:lnTo>
                  <a:lnTo>
                    <a:pt x="31" y="62"/>
                  </a:lnTo>
                  <a:lnTo>
                    <a:pt x="31" y="31"/>
                  </a:lnTo>
                  <a:lnTo>
                    <a:pt x="312" y="31"/>
                  </a:lnTo>
                  <a:lnTo>
                    <a:pt x="312" y="249"/>
                  </a:lnTo>
                  <a:lnTo>
                    <a:pt x="138" y="249"/>
                  </a:lnTo>
                  <a:cubicBezTo>
                    <a:pt x="131" y="231"/>
                    <a:pt x="115" y="218"/>
                    <a:pt x="94" y="218"/>
                  </a:cubicBezTo>
                  <a:cubicBezTo>
                    <a:pt x="74" y="218"/>
                    <a:pt x="56" y="231"/>
                    <a:pt x="50" y="249"/>
                  </a:cubicBezTo>
                  <a:lnTo>
                    <a:pt x="31" y="249"/>
                  </a:lnTo>
                  <a:lnTo>
                    <a:pt x="31" y="155"/>
                  </a:lnTo>
                  <a:lnTo>
                    <a:pt x="31" y="155"/>
                  </a:lnTo>
                  <a:close/>
                  <a:moveTo>
                    <a:pt x="218" y="94"/>
                  </a:moveTo>
                  <a:lnTo>
                    <a:pt x="218" y="94"/>
                  </a:lnTo>
                  <a:lnTo>
                    <a:pt x="249" y="94"/>
                  </a:lnTo>
                  <a:lnTo>
                    <a:pt x="249" y="125"/>
                  </a:lnTo>
                  <a:lnTo>
                    <a:pt x="218" y="125"/>
                  </a:lnTo>
                  <a:lnTo>
                    <a:pt x="218" y="94"/>
                  </a:lnTo>
                  <a:close/>
                  <a:moveTo>
                    <a:pt x="155" y="94"/>
                  </a:moveTo>
                  <a:lnTo>
                    <a:pt x="155" y="94"/>
                  </a:lnTo>
                  <a:lnTo>
                    <a:pt x="188" y="94"/>
                  </a:lnTo>
                  <a:lnTo>
                    <a:pt x="188" y="125"/>
                  </a:lnTo>
                  <a:lnTo>
                    <a:pt x="155" y="125"/>
                  </a:lnTo>
                  <a:lnTo>
                    <a:pt x="155" y="94"/>
                  </a:lnTo>
                  <a:close/>
                  <a:moveTo>
                    <a:pt x="94" y="94"/>
                  </a:moveTo>
                  <a:lnTo>
                    <a:pt x="94" y="94"/>
                  </a:lnTo>
                  <a:lnTo>
                    <a:pt x="125" y="94"/>
                  </a:lnTo>
                  <a:lnTo>
                    <a:pt x="125" y="125"/>
                  </a:lnTo>
                  <a:lnTo>
                    <a:pt x="94" y="125"/>
                  </a:lnTo>
                  <a:lnTo>
                    <a:pt x="94" y="94"/>
                  </a:lnTo>
                  <a:close/>
                  <a:moveTo>
                    <a:pt x="31" y="94"/>
                  </a:moveTo>
                  <a:lnTo>
                    <a:pt x="31" y="94"/>
                  </a:lnTo>
                  <a:lnTo>
                    <a:pt x="62" y="94"/>
                  </a:lnTo>
                  <a:lnTo>
                    <a:pt x="62" y="125"/>
                  </a:lnTo>
                  <a:lnTo>
                    <a:pt x="31" y="125"/>
                  </a:lnTo>
                  <a:lnTo>
                    <a:pt x="31" y="94"/>
                  </a:lnTo>
                  <a:close/>
                  <a:moveTo>
                    <a:pt x="422" y="94"/>
                  </a:moveTo>
                  <a:lnTo>
                    <a:pt x="422" y="94"/>
                  </a:lnTo>
                  <a:lnTo>
                    <a:pt x="343" y="94"/>
                  </a:lnTo>
                  <a:lnTo>
                    <a:pt x="343" y="15"/>
                  </a:lnTo>
                  <a:cubicBezTo>
                    <a:pt x="343" y="6"/>
                    <a:pt x="337" y="0"/>
                    <a:pt x="328" y="0"/>
                  </a:cubicBezTo>
                  <a:lnTo>
                    <a:pt x="15" y="0"/>
                  </a:lnTo>
                  <a:cubicBezTo>
                    <a:pt x="6" y="0"/>
                    <a:pt x="0" y="6"/>
                    <a:pt x="0" y="15"/>
                  </a:cubicBezTo>
                  <a:lnTo>
                    <a:pt x="0" y="265"/>
                  </a:lnTo>
                  <a:cubicBezTo>
                    <a:pt x="0" y="274"/>
                    <a:pt x="6" y="281"/>
                    <a:pt x="15" y="281"/>
                  </a:cubicBezTo>
                  <a:lnTo>
                    <a:pt x="50" y="281"/>
                  </a:lnTo>
                  <a:cubicBezTo>
                    <a:pt x="56" y="298"/>
                    <a:pt x="74" y="312"/>
                    <a:pt x="94" y="312"/>
                  </a:cubicBezTo>
                  <a:cubicBezTo>
                    <a:pt x="115" y="312"/>
                    <a:pt x="131" y="298"/>
                    <a:pt x="138" y="281"/>
                  </a:cubicBezTo>
                  <a:lnTo>
                    <a:pt x="315" y="281"/>
                  </a:lnTo>
                  <a:cubicBezTo>
                    <a:pt x="321" y="298"/>
                    <a:pt x="338" y="312"/>
                    <a:pt x="359" y="312"/>
                  </a:cubicBezTo>
                  <a:cubicBezTo>
                    <a:pt x="379" y="312"/>
                    <a:pt x="397" y="298"/>
                    <a:pt x="403" y="281"/>
                  </a:cubicBezTo>
                  <a:lnTo>
                    <a:pt x="453" y="281"/>
                  </a:lnTo>
                  <a:cubicBezTo>
                    <a:pt x="462" y="281"/>
                    <a:pt x="469" y="274"/>
                    <a:pt x="469" y="265"/>
                  </a:cubicBezTo>
                  <a:lnTo>
                    <a:pt x="469" y="141"/>
                  </a:lnTo>
                  <a:cubicBezTo>
                    <a:pt x="469" y="115"/>
                    <a:pt x="447" y="94"/>
                    <a:pt x="422" y="94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Freeform 505">
              <a:extLst>
                <a:ext uri="{FF2B5EF4-FFF2-40B4-BE49-F238E27FC236}">
                  <a16:creationId xmlns:a16="http://schemas.microsoft.com/office/drawing/2014/main" id="{D7A572EB-59DF-10DA-6844-2B2731017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9209" y="6276220"/>
              <a:ext cx="900000" cy="900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Freeform 506">
              <a:extLst>
                <a:ext uri="{FF2B5EF4-FFF2-40B4-BE49-F238E27FC236}">
                  <a16:creationId xmlns:a16="http://schemas.microsoft.com/office/drawing/2014/main" id="{D1D0EFD8-FF9F-574C-F5B6-07A5EEA12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5156" y="6359873"/>
              <a:ext cx="384238" cy="395819"/>
            </a:xfrm>
            <a:custGeom>
              <a:avLst/>
              <a:gdLst>
                <a:gd name="T0" fmla="*/ 76 w 237"/>
                <a:gd name="T1" fmla="*/ 117 h 299"/>
                <a:gd name="T2" fmla="*/ 161 w 237"/>
                <a:gd name="T3" fmla="*/ 117 h 299"/>
                <a:gd name="T4" fmla="*/ 183 w 237"/>
                <a:gd name="T5" fmla="*/ 96 h 299"/>
                <a:gd name="T6" fmla="*/ 183 w 237"/>
                <a:gd name="T7" fmla="*/ 64 h 299"/>
                <a:gd name="T8" fmla="*/ 161 w 237"/>
                <a:gd name="T9" fmla="*/ 43 h 299"/>
                <a:gd name="T10" fmla="*/ 76 w 237"/>
                <a:gd name="T11" fmla="*/ 43 h 299"/>
                <a:gd name="T12" fmla="*/ 55 w 237"/>
                <a:gd name="T13" fmla="*/ 64 h 299"/>
                <a:gd name="T14" fmla="*/ 55 w 237"/>
                <a:gd name="T15" fmla="*/ 96 h 299"/>
                <a:gd name="T16" fmla="*/ 76 w 237"/>
                <a:gd name="T17" fmla="*/ 117 h 299"/>
                <a:gd name="T18" fmla="*/ 76 w 237"/>
                <a:gd name="T19" fmla="*/ 64 h 299"/>
                <a:gd name="T20" fmla="*/ 161 w 237"/>
                <a:gd name="T21" fmla="*/ 64 h 299"/>
                <a:gd name="T22" fmla="*/ 161 w 237"/>
                <a:gd name="T23" fmla="*/ 96 h 299"/>
                <a:gd name="T24" fmla="*/ 76 w 237"/>
                <a:gd name="T25" fmla="*/ 96 h 299"/>
                <a:gd name="T26" fmla="*/ 76 w 237"/>
                <a:gd name="T27" fmla="*/ 64 h 299"/>
                <a:gd name="T28" fmla="*/ 76 w 237"/>
                <a:gd name="T29" fmla="*/ 192 h 299"/>
                <a:gd name="T30" fmla="*/ 55 w 237"/>
                <a:gd name="T31" fmla="*/ 171 h 299"/>
                <a:gd name="T32" fmla="*/ 76 w 237"/>
                <a:gd name="T33" fmla="*/ 149 h 299"/>
                <a:gd name="T34" fmla="*/ 97 w 237"/>
                <a:gd name="T35" fmla="*/ 171 h 299"/>
                <a:gd name="T36" fmla="*/ 76 w 237"/>
                <a:gd name="T37" fmla="*/ 192 h 299"/>
                <a:gd name="T38" fmla="*/ 183 w 237"/>
                <a:gd name="T39" fmla="*/ 171 h 299"/>
                <a:gd name="T40" fmla="*/ 161 w 237"/>
                <a:gd name="T41" fmla="*/ 192 h 299"/>
                <a:gd name="T42" fmla="*/ 140 w 237"/>
                <a:gd name="T43" fmla="*/ 171 h 299"/>
                <a:gd name="T44" fmla="*/ 161 w 237"/>
                <a:gd name="T45" fmla="*/ 149 h 299"/>
                <a:gd name="T46" fmla="*/ 183 w 237"/>
                <a:gd name="T47" fmla="*/ 171 h 299"/>
                <a:gd name="T48" fmla="*/ 233 w 237"/>
                <a:gd name="T49" fmla="*/ 280 h 299"/>
                <a:gd name="T50" fmla="*/ 183 w 237"/>
                <a:gd name="T51" fmla="*/ 231 h 299"/>
                <a:gd name="T52" fmla="*/ 225 w 237"/>
                <a:gd name="T53" fmla="*/ 181 h 299"/>
                <a:gd name="T54" fmla="*/ 225 w 237"/>
                <a:gd name="T55" fmla="*/ 53 h 299"/>
                <a:gd name="T56" fmla="*/ 172 w 237"/>
                <a:gd name="T57" fmla="*/ 0 h 299"/>
                <a:gd name="T58" fmla="*/ 65 w 237"/>
                <a:gd name="T59" fmla="*/ 0 h 299"/>
                <a:gd name="T60" fmla="*/ 12 w 237"/>
                <a:gd name="T61" fmla="*/ 53 h 299"/>
                <a:gd name="T62" fmla="*/ 12 w 237"/>
                <a:gd name="T63" fmla="*/ 181 h 299"/>
                <a:gd name="T64" fmla="*/ 52 w 237"/>
                <a:gd name="T65" fmla="*/ 233 h 299"/>
                <a:gd name="T66" fmla="*/ 4 w 237"/>
                <a:gd name="T67" fmla="*/ 280 h 299"/>
                <a:gd name="T68" fmla="*/ 4 w 237"/>
                <a:gd name="T69" fmla="*/ 296 h 299"/>
                <a:gd name="T70" fmla="*/ 12 w 237"/>
                <a:gd name="T71" fmla="*/ 299 h 299"/>
                <a:gd name="T72" fmla="*/ 20 w 237"/>
                <a:gd name="T73" fmla="*/ 296 h 299"/>
                <a:gd name="T74" fmla="*/ 38 w 237"/>
                <a:gd name="T75" fmla="*/ 277 h 299"/>
                <a:gd name="T76" fmla="*/ 200 w 237"/>
                <a:gd name="T77" fmla="*/ 277 h 299"/>
                <a:gd name="T78" fmla="*/ 218 w 237"/>
                <a:gd name="T79" fmla="*/ 296 h 299"/>
                <a:gd name="T80" fmla="*/ 225 w 237"/>
                <a:gd name="T81" fmla="*/ 299 h 299"/>
                <a:gd name="T82" fmla="*/ 233 w 237"/>
                <a:gd name="T83" fmla="*/ 296 h 299"/>
                <a:gd name="T84" fmla="*/ 233 w 237"/>
                <a:gd name="T85" fmla="*/ 280 h 299"/>
                <a:gd name="T86" fmla="*/ 33 w 237"/>
                <a:gd name="T87" fmla="*/ 181 h 299"/>
                <a:gd name="T88" fmla="*/ 33 w 237"/>
                <a:gd name="T89" fmla="*/ 53 h 299"/>
                <a:gd name="T90" fmla="*/ 65 w 237"/>
                <a:gd name="T91" fmla="*/ 21 h 299"/>
                <a:gd name="T92" fmla="*/ 172 w 237"/>
                <a:gd name="T93" fmla="*/ 21 h 299"/>
                <a:gd name="T94" fmla="*/ 204 w 237"/>
                <a:gd name="T95" fmla="*/ 53 h 299"/>
                <a:gd name="T96" fmla="*/ 204 w 237"/>
                <a:gd name="T97" fmla="*/ 181 h 299"/>
                <a:gd name="T98" fmla="*/ 161 w 237"/>
                <a:gd name="T99" fmla="*/ 213 h 299"/>
                <a:gd name="T100" fmla="*/ 65 w 237"/>
                <a:gd name="T101" fmla="*/ 213 h 299"/>
                <a:gd name="T102" fmla="*/ 33 w 237"/>
                <a:gd name="T103" fmla="*/ 181 h 299"/>
                <a:gd name="T104" fmla="*/ 59 w 237"/>
                <a:gd name="T105" fmla="*/ 256 h 299"/>
                <a:gd name="T106" fmla="*/ 80 w 237"/>
                <a:gd name="T107" fmla="*/ 235 h 299"/>
                <a:gd name="T108" fmla="*/ 157 w 237"/>
                <a:gd name="T109" fmla="*/ 235 h 299"/>
                <a:gd name="T110" fmla="*/ 178 w 237"/>
                <a:gd name="T111" fmla="*/ 256 h 299"/>
                <a:gd name="T112" fmla="*/ 59 w 237"/>
                <a:gd name="T113" fmla="*/ 25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7" h="299">
                  <a:moveTo>
                    <a:pt x="76" y="117"/>
                  </a:moveTo>
                  <a:cubicBezTo>
                    <a:pt x="161" y="117"/>
                    <a:pt x="161" y="117"/>
                    <a:pt x="161" y="117"/>
                  </a:cubicBezTo>
                  <a:cubicBezTo>
                    <a:pt x="173" y="117"/>
                    <a:pt x="183" y="108"/>
                    <a:pt x="183" y="96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52"/>
                    <a:pt x="173" y="43"/>
                    <a:pt x="161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64" y="43"/>
                    <a:pt x="55" y="52"/>
                    <a:pt x="55" y="64"/>
                  </a:cubicBezTo>
                  <a:cubicBezTo>
                    <a:pt x="55" y="96"/>
                    <a:pt x="55" y="96"/>
                    <a:pt x="55" y="96"/>
                  </a:cubicBezTo>
                  <a:cubicBezTo>
                    <a:pt x="55" y="108"/>
                    <a:pt x="64" y="117"/>
                    <a:pt x="76" y="117"/>
                  </a:cubicBezTo>
                  <a:close/>
                  <a:moveTo>
                    <a:pt x="76" y="64"/>
                  </a:moveTo>
                  <a:cubicBezTo>
                    <a:pt x="161" y="64"/>
                    <a:pt x="161" y="64"/>
                    <a:pt x="161" y="64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76" y="96"/>
                    <a:pt x="76" y="96"/>
                    <a:pt x="76" y="96"/>
                  </a:cubicBezTo>
                  <a:lnTo>
                    <a:pt x="76" y="64"/>
                  </a:lnTo>
                  <a:close/>
                  <a:moveTo>
                    <a:pt x="76" y="192"/>
                  </a:moveTo>
                  <a:cubicBezTo>
                    <a:pt x="64" y="192"/>
                    <a:pt x="55" y="182"/>
                    <a:pt x="55" y="171"/>
                  </a:cubicBezTo>
                  <a:cubicBezTo>
                    <a:pt x="55" y="159"/>
                    <a:pt x="64" y="149"/>
                    <a:pt x="76" y="149"/>
                  </a:cubicBezTo>
                  <a:cubicBezTo>
                    <a:pt x="88" y="149"/>
                    <a:pt x="97" y="159"/>
                    <a:pt x="97" y="171"/>
                  </a:cubicBezTo>
                  <a:cubicBezTo>
                    <a:pt x="97" y="182"/>
                    <a:pt x="88" y="192"/>
                    <a:pt x="76" y="192"/>
                  </a:cubicBezTo>
                  <a:close/>
                  <a:moveTo>
                    <a:pt x="183" y="171"/>
                  </a:moveTo>
                  <a:cubicBezTo>
                    <a:pt x="183" y="182"/>
                    <a:pt x="173" y="192"/>
                    <a:pt x="161" y="192"/>
                  </a:cubicBezTo>
                  <a:cubicBezTo>
                    <a:pt x="150" y="192"/>
                    <a:pt x="140" y="182"/>
                    <a:pt x="140" y="171"/>
                  </a:cubicBezTo>
                  <a:cubicBezTo>
                    <a:pt x="140" y="159"/>
                    <a:pt x="150" y="149"/>
                    <a:pt x="161" y="149"/>
                  </a:cubicBezTo>
                  <a:cubicBezTo>
                    <a:pt x="173" y="149"/>
                    <a:pt x="183" y="159"/>
                    <a:pt x="183" y="171"/>
                  </a:cubicBezTo>
                  <a:close/>
                  <a:moveTo>
                    <a:pt x="233" y="280"/>
                  </a:moveTo>
                  <a:cubicBezTo>
                    <a:pt x="183" y="231"/>
                    <a:pt x="183" y="231"/>
                    <a:pt x="183" y="231"/>
                  </a:cubicBezTo>
                  <a:cubicBezTo>
                    <a:pt x="205" y="223"/>
                    <a:pt x="225" y="204"/>
                    <a:pt x="225" y="181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24"/>
                    <a:pt x="201" y="0"/>
                    <a:pt x="17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36" y="0"/>
                    <a:pt x="12" y="24"/>
                    <a:pt x="12" y="53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206"/>
                    <a:pt x="29" y="227"/>
                    <a:pt x="52" y="233"/>
                  </a:cubicBezTo>
                  <a:cubicBezTo>
                    <a:pt x="4" y="280"/>
                    <a:pt x="4" y="280"/>
                    <a:pt x="4" y="280"/>
                  </a:cubicBezTo>
                  <a:cubicBezTo>
                    <a:pt x="0" y="285"/>
                    <a:pt x="0" y="291"/>
                    <a:pt x="4" y="296"/>
                  </a:cubicBezTo>
                  <a:cubicBezTo>
                    <a:pt x="7" y="298"/>
                    <a:pt x="9" y="299"/>
                    <a:pt x="12" y="299"/>
                  </a:cubicBezTo>
                  <a:cubicBezTo>
                    <a:pt x="15" y="299"/>
                    <a:pt x="17" y="298"/>
                    <a:pt x="20" y="296"/>
                  </a:cubicBezTo>
                  <a:cubicBezTo>
                    <a:pt x="38" y="277"/>
                    <a:pt x="38" y="277"/>
                    <a:pt x="38" y="277"/>
                  </a:cubicBezTo>
                  <a:cubicBezTo>
                    <a:pt x="200" y="277"/>
                    <a:pt x="200" y="277"/>
                    <a:pt x="200" y="277"/>
                  </a:cubicBezTo>
                  <a:cubicBezTo>
                    <a:pt x="218" y="296"/>
                    <a:pt x="218" y="296"/>
                    <a:pt x="218" y="296"/>
                  </a:cubicBezTo>
                  <a:cubicBezTo>
                    <a:pt x="220" y="298"/>
                    <a:pt x="223" y="299"/>
                    <a:pt x="225" y="299"/>
                  </a:cubicBezTo>
                  <a:cubicBezTo>
                    <a:pt x="228" y="299"/>
                    <a:pt x="231" y="298"/>
                    <a:pt x="233" y="296"/>
                  </a:cubicBezTo>
                  <a:cubicBezTo>
                    <a:pt x="237" y="291"/>
                    <a:pt x="237" y="285"/>
                    <a:pt x="233" y="280"/>
                  </a:cubicBezTo>
                  <a:close/>
                  <a:moveTo>
                    <a:pt x="33" y="181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36"/>
                    <a:pt x="48" y="21"/>
                    <a:pt x="65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90" y="21"/>
                    <a:pt x="204" y="36"/>
                    <a:pt x="204" y="53"/>
                  </a:cubicBezTo>
                  <a:cubicBezTo>
                    <a:pt x="204" y="181"/>
                    <a:pt x="204" y="181"/>
                    <a:pt x="204" y="181"/>
                  </a:cubicBezTo>
                  <a:cubicBezTo>
                    <a:pt x="204" y="198"/>
                    <a:pt x="180" y="213"/>
                    <a:pt x="161" y="213"/>
                  </a:cubicBezTo>
                  <a:cubicBezTo>
                    <a:pt x="65" y="213"/>
                    <a:pt x="65" y="213"/>
                    <a:pt x="65" y="213"/>
                  </a:cubicBezTo>
                  <a:cubicBezTo>
                    <a:pt x="48" y="213"/>
                    <a:pt x="33" y="199"/>
                    <a:pt x="33" y="181"/>
                  </a:cubicBezTo>
                  <a:close/>
                  <a:moveTo>
                    <a:pt x="59" y="256"/>
                  </a:moveTo>
                  <a:cubicBezTo>
                    <a:pt x="80" y="235"/>
                    <a:pt x="80" y="235"/>
                    <a:pt x="80" y="235"/>
                  </a:cubicBezTo>
                  <a:cubicBezTo>
                    <a:pt x="157" y="235"/>
                    <a:pt x="157" y="235"/>
                    <a:pt x="157" y="235"/>
                  </a:cubicBezTo>
                  <a:cubicBezTo>
                    <a:pt x="178" y="256"/>
                    <a:pt x="178" y="256"/>
                    <a:pt x="178" y="256"/>
                  </a:cubicBezTo>
                  <a:lnTo>
                    <a:pt x="59" y="25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836B3A88-2DFC-3069-4299-FC990F58F9EC}"/>
              </a:ext>
            </a:extLst>
          </p:cNvPr>
          <p:cNvSpPr/>
          <p:nvPr/>
        </p:nvSpPr>
        <p:spPr bwMode="gray">
          <a:xfrm>
            <a:off x="8204762" y="5257957"/>
            <a:ext cx="180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360000" tIns="36000" rIns="36000" bIns="36000" rtlCol="0" anchor="t"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latin typeface="Calibri" panose="020F0502020204030204" pitchFamily="34" charset="0"/>
                <a:cs typeface="Calibri" panose="020F0502020204030204" pitchFamily="34" charset="0"/>
              </a:rPr>
              <a:t>Další organizace ve městě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" name="Group 569">
            <a:extLst>
              <a:ext uri="{FF2B5EF4-FFF2-40B4-BE49-F238E27FC236}">
                <a16:creationId xmlns:a16="http://schemas.microsoft.com/office/drawing/2014/main" id="{C36A3B72-311D-380B-C46A-DC02588488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96221" y="5291179"/>
            <a:ext cx="360000" cy="360000"/>
            <a:chOff x="5648" y="3248"/>
            <a:chExt cx="340" cy="340"/>
          </a:xfrm>
          <a:solidFill>
            <a:schemeClr val="tx1"/>
          </a:solidFill>
        </p:grpSpPr>
        <p:sp>
          <p:nvSpPr>
            <p:cNvPr id="24" name="Freeform 570">
              <a:extLst>
                <a:ext uri="{FF2B5EF4-FFF2-40B4-BE49-F238E27FC236}">
                  <a16:creationId xmlns:a16="http://schemas.microsoft.com/office/drawing/2014/main" id="{93FEAB5B-DE91-BE53-73BE-C946C931B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" y="3326"/>
              <a:ext cx="212" cy="170"/>
            </a:xfrm>
            <a:custGeom>
              <a:avLst/>
              <a:gdLst>
                <a:gd name="T0" fmla="*/ 288 w 320"/>
                <a:gd name="T1" fmla="*/ 9 h 256"/>
                <a:gd name="T2" fmla="*/ 277 w 320"/>
                <a:gd name="T3" fmla="*/ 0 h 256"/>
                <a:gd name="T4" fmla="*/ 224 w 320"/>
                <a:gd name="T5" fmla="*/ 0 h 256"/>
                <a:gd name="T6" fmla="*/ 213 w 320"/>
                <a:gd name="T7" fmla="*/ 10 h 256"/>
                <a:gd name="T8" fmla="*/ 201 w 320"/>
                <a:gd name="T9" fmla="*/ 146 h 256"/>
                <a:gd name="T10" fmla="*/ 112 w 320"/>
                <a:gd name="T11" fmla="*/ 87 h 256"/>
                <a:gd name="T12" fmla="*/ 101 w 320"/>
                <a:gd name="T13" fmla="*/ 87 h 256"/>
                <a:gd name="T14" fmla="*/ 96 w 320"/>
                <a:gd name="T15" fmla="*/ 96 h 256"/>
                <a:gd name="T16" fmla="*/ 96 w 320"/>
                <a:gd name="T17" fmla="*/ 140 h 256"/>
                <a:gd name="T18" fmla="*/ 16 w 320"/>
                <a:gd name="T19" fmla="*/ 87 h 256"/>
                <a:gd name="T20" fmla="*/ 5 w 320"/>
                <a:gd name="T21" fmla="*/ 87 h 256"/>
                <a:gd name="T22" fmla="*/ 0 w 320"/>
                <a:gd name="T23" fmla="*/ 96 h 256"/>
                <a:gd name="T24" fmla="*/ 0 w 320"/>
                <a:gd name="T25" fmla="*/ 245 h 256"/>
                <a:gd name="T26" fmla="*/ 10 w 320"/>
                <a:gd name="T27" fmla="*/ 256 h 256"/>
                <a:gd name="T28" fmla="*/ 309 w 320"/>
                <a:gd name="T29" fmla="*/ 256 h 256"/>
                <a:gd name="T30" fmla="*/ 317 w 320"/>
                <a:gd name="T31" fmla="*/ 252 h 256"/>
                <a:gd name="T32" fmla="*/ 320 w 320"/>
                <a:gd name="T33" fmla="*/ 244 h 256"/>
                <a:gd name="T34" fmla="*/ 288 w 320"/>
                <a:gd name="T35" fmla="*/ 9 h 256"/>
                <a:gd name="T36" fmla="*/ 196 w 320"/>
                <a:gd name="T37" fmla="*/ 169 h 256"/>
                <a:gd name="T38" fmla="*/ 198 w 320"/>
                <a:gd name="T39" fmla="*/ 170 h 256"/>
                <a:gd name="T40" fmla="*/ 193 w 320"/>
                <a:gd name="T41" fmla="*/ 235 h 256"/>
                <a:gd name="T42" fmla="*/ 117 w 320"/>
                <a:gd name="T43" fmla="*/ 235 h 256"/>
                <a:gd name="T44" fmla="*/ 117 w 320"/>
                <a:gd name="T45" fmla="*/ 116 h 256"/>
                <a:gd name="T46" fmla="*/ 196 w 320"/>
                <a:gd name="T47" fmla="*/ 169 h 256"/>
                <a:gd name="T48" fmla="*/ 96 w 320"/>
                <a:gd name="T49" fmla="*/ 166 h 256"/>
                <a:gd name="T50" fmla="*/ 96 w 320"/>
                <a:gd name="T51" fmla="*/ 235 h 256"/>
                <a:gd name="T52" fmla="*/ 21 w 320"/>
                <a:gd name="T53" fmla="*/ 235 h 256"/>
                <a:gd name="T54" fmla="*/ 21 w 320"/>
                <a:gd name="T55" fmla="*/ 116 h 256"/>
                <a:gd name="T56" fmla="*/ 96 w 320"/>
                <a:gd name="T57" fmla="*/ 166 h 256"/>
                <a:gd name="T58" fmla="*/ 214 w 320"/>
                <a:gd name="T59" fmla="*/ 235 h 256"/>
                <a:gd name="T60" fmla="*/ 233 w 320"/>
                <a:gd name="T61" fmla="*/ 21 h 256"/>
                <a:gd name="T62" fmla="*/ 268 w 320"/>
                <a:gd name="T63" fmla="*/ 21 h 256"/>
                <a:gd name="T64" fmla="*/ 297 w 320"/>
                <a:gd name="T65" fmla="*/ 235 h 256"/>
                <a:gd name="T66" fmla="*/ 214 w 320"/>
                <a:gd name="T67" fmla="*/ 23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56">
                  <a:moveTo>
                    <a:pt x="288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18" y="0"/>
                    <a:pt x="214" y="4"/>
                    <a:pt x="213" y="10"/>
                  </a:cubicBezTo>
                  <a:cubicBezTo>
                    <a:pt x="201" y="146"/>
                    <a:pt x="201" y="146"/>
                    <a:pt x="201" y="146"/>
                  </a:cubicBezTo>
                  <a:cubicBezTo>
                    <a:pt x="112" y="87"/>
                    <a:pt x="112" y="87"/>
                    <a:pt x="112" y="87"/>
                  </a:cubicBezTo>
                  <a:cubicBezTo>
                    <a:pt x="109" y="85"/>
                    <a:pt x="105" y="85"/>
                    <a:pt x="101" y="87"/>
                  </a:cubicBezTo>
                  <a:cubicBezTo>
                    <a:pt x="98" y="88"/>
                    <a:pt x="96" y="92"/>
                    <a:pt x="96" y="96"/>
                  </a:cubicBezTo>
                  <a:cubicBezTo>
                    <a:pt x="96" y="140"/>
                    <a:pt x="96" y="140"/>
                    <a:pt x="96" y="140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3" y="85"/>
                    <a:pt x="9" y="85"/>
                    <a:pt x="5" y="87"/>
                  </a:cubicBezTo>
                  <a:cubicBezTo>
                    <a:pt x="2" y="88"/>
                    <a:pt x="0" y="92"/>
                    <a:pt x="0" y="96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51"/>
                    <a:pt x="4" y="256"/>
                    <a:pt x="10" y="256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12" y="256"/>
                    <a:pt x="315" y="255"/>
                    <a:pt x="317" y="252"/>
                  </a:cubicBezTo>
                  <a:cubicBezTo>
                    <a:pt x="319" y="250"/>
                    <a:pt x="320" y="247"/>
                    <a:pt x="320" y="244"/>
                  </a:cubicBezTo>
                  <a:lnTo>
                    <a:pt x="288" y="9"/>
                  </a:lnTo>
                  <a:close/>
                  <a:moveTo>
                    <a:pt x="196" y="169"/>
                  </a:moveTo>
                  <a:cubicBezTo>
                    <a:pt x="197" y="169"/>
                    <a:pt x="198" y="169"/>
                    <a:pt x="198" y="170"/>
                  </a:cubicBezTo>
                  <a:cubicBezTo>
                    <a:pt x="193" y="235"/>
                    <a:pt x="193" y="235"/>
                    <a:pt x="193" y="235"/>
                  </a:cubicBezTo>
                  <a:cubicBezTo>
                    <a:pt x="117" y="235"/>
                    <a:pt x="117" y="235"/>
                    <a:pt x="117" y="235"/>
                  </a:cubicBezTo>
                  <a:cubicBezTo>
                    <a:pt x="117" y="116"/>
                    <a:pt x="117" y="116"/>
                    <a:pt x="117" y="116"/>
                  </a:cubicBezTo>
                  <a:lnTo>
                    <a:pt x="196" y="169"/>
                  </a:lnTo>
                  <a:close/>
                  <a:moveTo>
                    <a:pt x="96" y="166"/>
                  </a:moveTo>
                  <a:cubicBezTo>
                    <a:pt x="96" y="235"/>
                    <a:pt x="96" y="235"/>
                    <a:pt x="96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116"/>
                    <a:pt x="21" y="116"/>
                    <a:pt x="21" y="116"/>
                  </a:cubicBezTo>
                  <a:lnTo>
                    <a:pt x="96" y="166"/>
                  </a:lnTo>
                  <a:close/>
                  <a:moveTo>
                    <a:pt x="214" y="235"/>
                  </a:moveTo>
                  <a:cubicBezTo>
                    <a:pt x="233" y="21"/>
                    <a:pt x="233" y="21"/>
                    <a:pt x="233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7" y="235"/>
                    <a:pt x="297" y="235"/>
                    <a:pt x="297" y="235"/>
                  </a:cubicBezTo>
                  <a:lnTo>
                    <a:pt x="214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Freeform 571">
              <a:extLst>
                <a:ext uri="{FF2B5EF4-FFF2-40B4-BE49-F238E27FC236}">
                  <a16:creationId xmlns:a16="http://schemas.microsoft.com/office/drawing/2014/main" id="{F2B9C71C-4AED-13D9-003D-AF071CAC5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8" y="3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497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2881AD5A-5F11-025B-88C5-EECEB8BC96DE}"/>
              </a:ext>
            </a:extLst>
          </p:cNvPr>
          <p:cNvSpPr txBox="1">
            <a:spLocks/>
          </p:cNvSpPr>
          <p:nvPr/>
        </p:nvSpPr>
        <p:spPr bwMode="gray">
          <a:xfrm>
            <a:off x="452544" y="1543369"/>
            <a:ext cx="7700855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Děkuji za pozornos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201142-E565-8C64-DB00-BC2CACE8FEE7}"/>
              </a:ext>
            </a:extLst>
          </p:cNvPr>
          <p:cNvSpPr txBox="1">
            <a:spLocks/>
          </p:cNvSpPr>
          <p:nvPr/>
        </p:nvSpPr>
        <p:spPr bwMode="gray">
          <a:xfrm>
            <a:off x="452544" y="2570843"/>
            <a:ext cx="7700855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Kontakt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BD0D0E-F4E5-C883-28C9-E741A02EEAE3}"/>
              </a:ext>
            </a:extLst>
          </p:cNvPr>
          <p:cNvSpPr txBox="1"/>
          <p:nvPr/>
        </p:nvSpPr>
        <p:spPr>
          <a:xfrm>
            <a:off x="2960152" y="4159266"/>
            <a:ext cx="2952000" cy="258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spcBef>
                <a:spcPts val="100"/>
              </a:spcBef>
              <a:spcAft>
                <a:spcPts val="100"/>
              </a:spcAft>
              <a:buSzPct val="100000"/>
              <a:defRPr sz="1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cs-CZ" dirty="0">
                <a:solidFill>
                  <a:schemeClr val="tx1"/>
                </a:solidFill>
              </a:rPr>
              <a:t>Kateřina Mašínová</a:t>
            </a: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cs-CZ" b="0" dirty="0">
                <a:solidFill>
                  <a:schemeClr val="tx1"/>
                </a:solidFill>
              </a:rPr>
              <a:t>Senior </a:t>
            </a:r>
            <a:r>
              <a:rPr lang="cs-CZ" b="0" dirty="0" err="1">
                <a:solidFill>
                  <a:schemeClr val="tx1"/>
                </a:solidFill>
              </a:rPr>
              <a:t>Consultant</a:t>
            </a:r>
            <a:endParaRPr lang="en-US" b="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cs-CZ" b="0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masinova</a:t>
            </a:r>
            <a:r>
              <a:rPr lang="en-US" b="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deloitteCE.com</a:t>
            </a:r>
            <a:endParaRPr lang="en-US" b="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b="0" dirty="0">
                <a:solidFill>
                  <a:schemeClr val="tx1"/>
                </a:solidFill>
              </a:rPr>
              <a:t>+420 </a:t>
            </a:r>
            <a:r>
              <a:rPr lang="cs-CZ" b="0" dirty="0">
                <a:solidFill>
                  <a:schemeClr val="tx1"/>
                </a:solidFill>
              </a:rPr>
              <a:t>703 893 477 </a:t>
            </a:r>
            <a:r>
              <a:rPr lang="en-US" b="0" dirty="0">
                <a:solidFill>
                  <a:schemeClr val="tx1"/>
                </a:solidFill>
              </a:rPr>
              <a:t>linkedin.com/in/katerinamasinova/</a:t>
            </a:r>
          </a:p>
        </p:txBody>
      </p:sp>
      <p:pic>
        <p:nvPicPr>
          <p:cNvPr id="6" name="Picture 5" descr="A picture containing person, clothing, outdoor&#10;&#10;Description automatically generated">
            <a:extLst>
              <a:ext uri="{FF2B5EF4-FFF2-40B4-BE49-F238E27FC236}">
                <a16:creationId xmlns:a16="http://schemas.microsoft.com/office/drawing/2014/main" id="{FF6F8B84-2ACB-BEDC-B663-F522E3C2EF6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52" y="2862768"/>
            <a:ext cx="1800000" cy="117064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AAF607B-2E4E-405B-47A5-60CD67D06E7B}"/>
              </a:ext>
            </a:extLst>
          </p:cNvPr>
          <p:cNvCxnSpPr/>
          <p:nvPr/>
        </p:nvCxnSpPr>
        <p:spPr>
          <a:xfrm flipH="1" flipV="1">
            <a:off x="2906152" y="2800441"/>
            <a:ext cx="1836000" cy="0"/>
          </a:xfrm>
          <a:prstGeom prst="line">
            <a:avLst/>
          </a:prstGeom>
          <a:ln w="28575" cmpd="sng">
            <a:solidFill>
              <a:srgbClr val="79D8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8310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heme/theme1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update_ppt_default_2022.pptx" id="{4C8BF10E-0C83-419B-8C3C-CDF5020B1037}" vid="{8A16D38C-102B-4677-9510-850044B5C7D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update_ppt_default_2022.pptx" id="{4C8BF10E-0C83-419B-8C3C-CDF5020B1037}" vid="{BF8E07B4-DB92-4112-8EF3-FC7A43D7561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3" ma:contentTypeDescription="Create a new document." ma:contentTypeScope="" ma:versionID="0a46a10188038176b4a387d52ea71e7a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9067f50d15324d46a422f953b0a6563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F5FBC8-9FF1-4377-BFED-A78611F88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e2369-70da-40d7-b978-99d0855b91b8"/>
    <ds:schemaRef ds:uri="8ee28f6f-733e-446a-845c-015b8614e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05E49B-70B5-4FEC-89D5-F69F52BE5B81}">
  <ds:schemaRefs>
    <ds:schemaRef ds:uri="http://schemas.microsoft.com/office/2006/documentManagement/types"/>
    <ds:schemaRef ds:uri="8f1e2369-70da-40d7-b978-99d0855b91b8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8ee28f6f-733e-446a-845c-015b8614e1f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3</TotalTime>
  <Words>819</Words>
  <Application>Microsoft Office PowerPoint</Application>
  <PresentationFormat>Widescreen</PresentationFormat>
  <Paragraphs>163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Symbol</vt:lpstr>
      <vt:lpstr>Verdana</vt:lpstr>
      <vt:lpstr>Wingdings</vt:lpstr>
      <vt:lpstr>Wingdings 2</vt:lpstr>
      <vt:lpstr>1_Deloitte Brand Theme</vt:lpstr>
      <vt:lpstr>Deloitte Brand Theme</vt:lpstr>
      <vt:lpstr>think-cell Slide</vt:lpstr>
      <vt:lpstr>Představení ekosystému C-I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 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ředstavení ekosystému C-ITS</dc:title>
  <dc:creator>Masinova, Katerina</dc:creator>
  <cp:lastModifiedBy>Masinova, Katerina</cp:lastModifiedBy>
  <cp:revision>12</cp:revision>
  <cp:lastPrinted>2014-06-25T02:16:22Z</cp:lastPrinted>
  <dcterms:created xsi:type="dcterms:W3CDTF">2022-12-08T11:16:24Z</dcterms:created>
  <dcterms:modified xsi:type="dcterms:W3CDTF">2022-12-09T11:4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C0B5E8C28FBB4DB6BB6E6547CA8A7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11-08T17:14:4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2dc67d39-dba5-4ed9-8bd6-b34dbe6f2ad7</vt:lpwstr>
  </property>
  <property fmtid="{D5CDD505-2E9C-101B-9397-08002B2CF9AE}" pid="9" name="MSIP_Label_ea60d57e-af5b-4752-ac57-3e4f28ca11dc_ContentBits">
    <vt:lpwstr>0</vt:lpwstr>
  </property>
</Properties>
</file>